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2" r:id="rId4"/>
  </p:sldMasterIdLst>
  <p:notesMasterIdLst>
    <p:notesMasterId r:id="rId19"/>
  </p:notesMasterIdLst>
  <p:handoutMasterIdLst>
    <p:handoutMasterId r:id="rId20"/>
  </p:handoutMasterIdLst>
  <p:sldIdLst>
    <p:sldId id="257" r:id="rId5"/>
    <p:sldId id="621" r:id="rId6"/>
    <p:sldId id="622" r:id="rId7"/>
    <p:sldId id="623" r:id="rId8"/>
    <p:sldId id="625" r:id="rId9"/>
    <p:sldId id="624" r:id="rId10"/>
    <p:sldId id="626" r:id="rId11"/>
    <p:sldId id="627" r:id="rId12"/>
    <p:sldId id="628" r:id="rId13"/>
    <p:sldId id="629" r:id="rId14"/>
    <p:sldId id="630" r:id="rId15"/>
    <p:sldId id="633" r:id="rId16"/>
    <p:sldId id="632" r:id="rId17"/>
    <p:sldId id="619" r:id="rId18"/>
  </p:sldIdLst>
  <p:sldSz cx="12192000" cy="6858000"/>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0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BA56"/>
    <a:srgbClr val="008244"/>
    <a:srgbClr val="7FBB59"/>
    <a:srgbClr val="83C256"/>
    <a:srgbClr val="008143"/>
    <a:srgbClr val="B1B1B1"/>
    <a:srgbClr val="66A697"/>
    <a:srgbClr val="3C3C3C"/>
    <a:srgbClr val="006B52"/>
    <a:srgbClr val="4C0F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94" autoAdjust="0"/>
    <p:restoredTop sz="93557" autoAdjust="0"/>
  </p:normalViewPr>
  <p:slideViewPr>
    <p:cSldViewPr snapToGrid="0">
      <p:cViewPr varScale="1">
        <p:scale>
          <a:sx n="88" d="100"/>
          <a:sy n="88" d="100"/>
        </p:scale>
        <p:origin x="108" y="420"/>
      </p:cViewPr>
      <p:guideLst>
        <p:guide orient="horz" pos="2160"/>
        <p:guide pos="3809"/>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a270297\AppData\Local\Microsoft\Windows\INetCache\Content.Outlook\60MJS2K2\Compound%20A%20-%20ARC%20comparison.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119443984751086E-2"/>
          <c:y val="3.5187936413608664E-2"/>
          <c:w val="0.87170670098712311"/>
          <c:h val="0.79079884118258803"/>
        </c:manualLayout>
      </c:layout>
      <c:scatterChart>
        <c:scatterStyle val="lineMarker"/>
        <c:varyColors val="0"/>
        <c:ser>
          <c:idx val="0"/>
          <c:order val="0"/>
          <c:tx>
            <c:strRef>
              <c:f>Data!$C$6</c:f>
              <c:strCache>
                <c:ptCount val="1"/>
                <c:pt idx="0">
                  <c:v>Dry</c:v>
                </c:pt>
              </c:strCache>
            </c:strRef>
          </c:tx>
          <c:spPr>
            <a:ln w="50800">
              <a:solidFill>
                <a:srgbClr val="3C3C3C"/>
              </a:solidFill>
            </a:ln>
          </c:spPr>
          <c:marker>
            <c:symbol val="none"/>
          </c:marker>
          <c:xVal>
            <c:numRef>
              <c:f>Data!$D$9:$D$897</c:f>
              <c:numCache>
                <c:formatCode>General</c:formatCode>
                <c:ptCount val="889"/>
                <c:pt idx="170">
                  <c:v>0.22000000000002728</c:v>
                </c:pt>
                <c:pt idx="171">
                  <c:v>5.2200000000000273</c:v>
                </c:pt>
                <c:pt idx="172">
                  <c:v>5.2599999999999909</c:v>
                </c:pt>
                <c:pt idx="173">
                  <c:v>10.220000000000027</c:v>
                </c:pt>
                <c:pt idx="174">
                  <c:v>15.220000000000027</c:v>
                </c:pt>
                <c:pt idx="175">
                  <c:v>20.220000000000027</c:v>
                </c:pt>
                <c:pt idx="176">
                  <c:v>25.220000000000027</c:v>
                </c:pt>
                <c:pt idx="177">
                  <c:v>29.110000000000014</c:v>
                </c:pt>
                <c:pt idx="178">
                  <c:v>34.110000000000014</c:v>
                </c:pt>
                <c:pt idx="179">
                  <c:v>39.110000000000014</c:v>
                </c:pt>
                <c:pt idx="180">
                  <c:v>44.110000000000014</c:v>
                </c:pt>
                <c:pt idx="181">
                  <c:v>45.309999999999945</c:v>
                </c:pt>
                <c:pt idx="182">
                  <c:v>50.309999999999945</c:v>
                </c:pt>
                <c:pt idx="183">
                  <c:v>54.330000000000041</c:v>
                </c:pt>
                <c:pt idx="184">
                  <c:v>59.330000000000041</c:v>
                </c:pt>
                <c:pt idx="185">
                  <c:v>61.730000000000018</c:v>
                </c:pt>
                <c:pt idx="186">
                  <c:v>66.730000000000018</c:v>
                </c:pt>
                <c:pt idx="187">
                  <c:v>67.049999999999955</c:v>
                </c:pt>
                <c:pt idx="188">
                  <c:v>71.169999999999959</c:v>
                </c:pt>
                <c:pt idx="189">
                  <c:v>74.07000000000005</c:v>
                </c:pt>
                <c:pt idx="190">
                  <c:v>77.669999999999959</c:v>
                </c:pt>
                <c:pt idx="191">
                  <c:v>79.42999999999995</c:v>
                </c:pt>
                <c:pt idx="192">
                  <c:v>80.950000000000045</c:v>
                </c:pt>
                <c:pt idx="193">
                  <c:v>83.049999999999955</c:v>
                </c:pt>
                <c:pt idx="194">
                  <c:v>84.190000000000055</c:v>
                </c:pt>
                <c:pt idx="195">
                  <c:v>85.690000000000055</c:v>
                </c:pt>
                <c:pt idx="196">
                  <c:v>86.590000000000032</c:v>
                </c:pt>
                <c:pt idx="197">
                  <c:v>87.269999999999982</c:v>
                </c:pt>
                <c:pt idx="198">
                  <c:v>88.230000000000018</c:v>
                </c:pt>
                <c:pt idx="199">
                  <c:v>88.789999999999964</c:v>
                </c:pt>
                <c:pt idx="200">
                  <c:v>89.590000000000032</c:v>
                </c:pt>
                <c:pt idx="201">
                  <c:v>89.970000000000027</c:v>
                </c:pt>
                <c:pt idx="202">
                  <c:v>90.330000000000041</c:v>
                </c:pt>
                <c:pt idx="203">
                  <c:v>90.809999999999945</c:v>
                </c:pt>
                <c:pt idx="204">
                  <c:v>91.110000000000014</c:v>
                </c:pt>
                <c:pt idx="205">
                  <c:v>91.37</c:v>
                </c:pt>
                <c:pt idx="206">
                  <c:v>91.710000000000036</c:v>
                </c:pt>
                <c:pt idx="207">
                  <c:v>91.909999999999968</c:v>
                </c:pt>
                <c:pt idx="208">
                  <c:v>92.090000000000032</c:v>
                </c:pt>
                <c:pt idx="209">
                  <c:v>92.210000000000036</c:v>
                </c:pt>
                <c:pt idx="210">
                  <c:v>92.230000000000018</c:v>
                </c:pt>
                <c:pt idx="211">
                  <c:v>92.25</c:v>
                </c:pt>
                <c:pt idx="212">
                  <c:v>92.269999999999982</c:v>
                </c:pt>
                <c:pt idx="213">
                  <c:v>92.289999999999964</c:v>
                </c:pt>
                <c:pt idx="214">
                  <c:v>92.309999999999945</c:v>
                </c:pt>
                <c:pt idx="215">
                  <c:v>92.330000000000041</c:v>
                </c:pt>
                <c:pt idx="216">
                  <c:v>92.350000000000023</c:v>
                </c:pt>
                <c:pt idx="217">
                  <c:v>92.37</c:v>
                </c:pt>
                <c:pt idx="218">
                  <c:v>92.389999999999986</c:v>
                </c:pt>
                <c:pt idx="219">
                  <c:v>92.409999999999968</c:v>
                </c:pt>
                <c:pt idx="220">
                  <c:v>92.42999999999995</c:v>
                </c:pt>
                <c:pt idx="221">
                  <c:v>92.450000000000045</c:v>
                </c:pt>
                <c:pt idx="222">
                  <c:v>92.529999999999973</c:v>
                </c:pt>
                <c:pt idx="223">
                  <c:v>92.559999999999945</c:v>
                </c:pt>
                <c:pt idx="224">
                  <c:v>97.559999999999945</c:v>
                </c:pt>
                <c:pt idx="225">
                  <c:v>102.55999999999995</c:v>
                </c:pt>
                <c:pt idx="226">
                  <c:v>107.55999999999995</c:v>
                </c:pt>
                <c:pt idx="227">
                  <c:v>109.27999999999997</c:v>
                </c:pt>
                <c:pt idx="228">
                  <c:v>114.27999999999997</c:v>
                </c:pt>
                <c:pt idx="229">
                  <c:v>119.27999999999997</c:v>
                </c:pt>
                <c:pt idx="230">
                  <c:v>124.27999999999997</c:v>
                </c:pt>
                <c:pt idx="231">
                  <c:v>129.27999999999997</c:v>
                </c:pt>
                <c:pt idx="232">
                  <c:v>129.32000000000005</c:v>
                </c:pt>
                <c:pt idx="233">
                  <c:v>134.27999999999997</c:v>
                </c:pt>
                <c:pt idx="234">
                  <c:v>139.27999999999997</c:v>
                </c:pt>
                <c:pt idx="235">
                  <c:v>139.42999999999995</c:v>
                </c:pt>
              </c:numCache>
            </c:numRef>
          </c:xVal>
          <c:yVal>
            <c:numRef>
              <c:f>Data!$B$9:$B$897</c:f>
              <c:numCache>
                <c:formatCode>General</c:formatCode>
                <c:ptCount val="889"/>
                <c:pt idx="170">
                  <c:v>200.09</c:v>
                </c:pt>
                <c:pt idx="171">
                  <c:v>200.22</c:v>
                </c:pt>
                <c:pt idx="172">
                  <c:v>200.22</c:v>
                </c:pt>
                <c:pt idx="173">
                  <c:v>200.34</c:v>
                </c:pt>
                <c:pt idx="174">
                  <c:v>200.49</c:v>
                </c:pt>
                <c:pt idx="175">
                  <c:v>200.53</c:v>
                </c:pt>
                <c:pt idx="176">
                  <c:v>200.67</c:v>
                </c:pt>
                <c:pt idx="177">
                  <c:v>200.82</c:v>
                </c:pt>
                <c:pt idx="178">
                  <c:v>201.01</c:v>
                </c:pt>
                <c:pt idx="179">
                  <c:v>201.11</c:v>
                </c:pt>
                <c:pt idx="180">
                  <c:v>201.36</c:v>
                </c:pt>
                <c:pt idx="181">
                  <c:v>201.44</c:v>
                </c:pt>
                <c:pt idx="182">
                  <c:v>201.66</c:v>
                </c:pt>
                <c:pt idx="183">
                  <c:v>201.84</c:v>
                </c:pt>
                <c:pt idx="184">
                  <c:v>202.26</c:v>
                </c:pt>
                <c:pt idx="185">
                  <c:v>202.46</c:v>
                </c:pt>
                <c:pt idx="186">
                  <c:v>202.84</c:v>
                </c:pt>
                <c:pt idx="187">
                  <c:v>202.86</c:v>
                </c:pt>
                <c:pt idx="188">
                  <c:v>203.47</c:v>
                </c:pt>
                <c:pt idx="189">
                  <c:v>203.9</c:v>
                </c:pt>
                <c:pt idx="190">
                  <c:v>204.5</c:v>
                </c:pt>
                <c:pt idx="191">
                  <c:v>204.9</c:v>
                </c:pt>
                <c:pt idx="192">
                  <c:v>205.32</c:v>
                </c:pt>
                <c:pt idx="193">
                  <c:v>205.94</c:v>
                </c:pt>
                <c:pt idx="194">
                  <c:v>206.36</c:v>
                </c:pt>
                <c:pt idx="195">
                  <c:v>207</c:v>
                </c:pt>
                <c:pt idx="196">
                  <c:v>207.43</c:v>
                </c:pt>
                <c:pt idx="197">
                  <c:v>207.84</c:v>
                </c:pt>
                <c:pt idx="198">
                  <c:v>208.47</c:v>
                </c:pt>
                <c:pt idx="199">
                  <c:v>208.9</c:v>
                </c:pt>
                <c:pt idx="200">
                  <c:v>209.52</c:v>
                </c:pt>
                <c:pt idx="201">
                  <c:v>209.95</c:v>
                </c:pt>
                <c:pt idx="202">
                  <c:v>210.37</c:v>
                </c:pt>
                <c:pt idx="203">
                  <c:v>210.97</c:v>
                </c:pt>
                <c:pt idx="204">
                  <c:v>211.41</c:v>
                </c:pt>
                <c:pt idx="205">
                  <c:v>211.83</c:v>
                </c:pt>
                <c:pt idx="206">
                  <c:v>212.49</c:v>
                </c:pt>
                <c:pt idx="207">
                  <c:v>212.92</c:v>
                </c:pt>
                <c:pt idx="208">
                  <c:v>213.37</c:v>
                </c:pt>
                <c:pt idx="209">
                  <c:v>281.5</c:v>
                </c:pt>
                <c:pt idx="210">
                  <c:v>286.52</c:v>
                </c:pt>
                <c:pt idx="211">
                  <c:v>290.48</c:v>
                </c:pt>
                <c:pt idx="212">
                  <c:v>293.67</c:v>
                </c:pt>
                <c:pt idx="213">
                  <c:v>296.26</c:v>
                </c:pt>
                <c:pt idx="214">
                  <c:v>298.35000000000002</c:v>
                </c:pt>
                <c:pt idx="215">
                  <c:v>300.05</c:v>
                </c:pt>
                <c:pt idx="216">
                  <c:v>301.45</c:v>
                </c:pt>
                <c:pt idx="217">
                  <c:v>302.52999999999997</c:v>
                </c:pt>
                <c:pt idx="218">
                  <c:v>303.32</c:v>
                </c:pt>
                <c:pt idx="219">
                  <c:v>303.89</c:v>
                </c:pt>
                <c:pt idx="220">
                  <c:v>304.3</c:v>
                </c:pt>
                <c:pt idx="221">
                  <c:v>304.57</c:v>
                </c:pt>
                <c:pt idx="222">
                  <c:v>304.35000000000002</c:v>
                </c:pt>
                <c:pt idx="223">
                  <c:v>304.02999999999997</c:v>
                </c:pt>
                <c:pt idx="224">
                  <c:v>268.31</c:v>
                </c:pt>
                <c:pt idx="225">
                  <c:v>292.94</c:v>
                </c:pt>
                <c:pt idx="226">
                  <c:v>313.62</c:v>
                </c:pt>
                <c:pt idx="227">
                  <c:v>314.35000000000002</c:v>
                </c:pt>
                <c:pt idx="228">
                  <c:v>314.36</c:v>
                </c:pt>
                <c:pt idx="229">
                  <c:v>314.58999999999997</c:v>
                </c:pt>
                <c:pt idx="230">
                  <c:v>314.74</c:v>
                </c:pt>
                <c:pt idx="231">
                  <c:v>314.81</c:v>
                </c:pt>
                <c:pt idx="232">
                  <c:v>314.81</c:v>
                </c:pt>
                <c:pt idx="233">
                  <c:v>314.89</c:v>
                </c:pt>
                <c:pt idx="234">
                  <c:v>314.87</c:v>
                </c:pt>
                <c:pt idx="235">
                  <c:v>314.86</c:v>
                </c:pt>
              </c:numCache>
            </c:numRef>
          </c:yVal>
          <c:smooth val="0"/>
          <c:extLst>
            <c:ext xmlns:c16="http://schemas.microsoft.com/office/drawing/2014/chart" uri="{C3380CC4-5D6E-409C-BE32-E72D297353CC}">
              <c16:uniqueId val="{00000000-ED69-4A8E-A206-AA40F443BECF}"/>
            </c:ext>
          </c:extLst>
        </c:ser>
        <c:ser>
          <c:idx val="2"/>
          <c:order val="2"/>
          <c:tx>
            <c:strRef>
              <c:f>Data!$H$6</c:f>
              <c:strCache>
                <c:ptCount val="1"/>
                <c:pt idx="0">
                  <c:v>Slurry</c:v>
                </c:pt>
              </c:strCache>
            </c:strRef>
          </c:tx>
          <c:spPr>
            <a:ln w="50800">
              <a:solidFill>
                <a:srgbClr val="7030A0"/>
              </a:solidFill>
              <a:prstDash val="solid"/>
            </a:ln>
          </c:spPr>
          <c:marker>
            <c:symbol val="none"/>
          </c:marker>
          <c:xVal>
            <c:numRef>
              <c:f>Data!$I$9:$I$408</c:f>
              <c:numCache>
                <c:formatCode>General</c:formatCode>
                <c:ptCount val="400"/>
                <c:pt idx="131">
                  <c:v>13.779999999999973</c:v>
                </c:pt>
                <c:pt idx="132">
                  <c:v>18.779999999999973</c:v>
                </c:pt>
                <c:pt idx="133">
                  <c:v>23.779999999999973</c:v>
                </c:pt>
                <c:pt idx="134">
                  <c:v>28.779999999999973</c:v>
                </c:pt>
                <c:pt idx="135">
                  <c:v>45.019999999999982</c:v>
                </c:pt>
                <c:pt idx="136">
                  <c:v>50.019999999999982</c:v>
                </c:pt>
                <c:pt idx="137">
                  <c:v>55.019999999999982</c:v>
                </c:pt>
                <c:pt idx="138">
                  <c:v>60.019999999999982</c:v>
                </c:pt>
                <c:pt idx="139">
                  <c:v>61.419999999999959</c:v>
                </c:pt>
                <c:pt idx="140">
                  <c:v>66.419999999999959</c:v>
                </c:pt>
                <c:pt idx="141">
                  <c:v>71.419999999999959</c:v>
                </c:pt>
                <c:pt idx="142">
                  <c:v>76.419999999999959</c:v>
                </c:pt>
                <c:pt idx="143">
                  <c:v>81.419999999999959</c:v>
                </c:pt>
                <c:pt idx="144">
                  <c:v>86.419999999999959</c:v>
                </c:pt>
                <c:pt idx="145">
                  <c:v>87.919999999999959</c:v>
                </c:pt>
                <c:pt idx="146">
                  <c:v>92.919999999999959</c:v>
                </c:pt>
                <c:pt idx="147">
                  <c:v>97.919999999999959</c:v>
                </c:pt>
                <c:pt idx="148">
                  <c:v>98.440000000000055</c:v>
                </c:pt>
                <c:pt idx="149">
                  <c:v>103.44000000000005</c:v>
                </c:pt>
                <c:pt idx="150">
                  <c:v>108.44000000000005</c:v>
                </c:pt>
                <c:pt idx="151">
                  <c:v>113.44000000000005</c:v>
                </c:pt>
                <c:pt idx="152">
                  <c:v>116.94000000000005</c:v>
                </c:pt>
                <c:pt idx="153">
                  <c:v>121.94000000000005</c:v>
                </c:pt>
                <c:pt idx="154">
                  <c:v>126.65999999999997</c:v>
                </c:pt>
                <c:pt idx="155">
                  <c:v>131.65999999999997</c:v>
                </c:pt>
                <c:pt idx="156">
                  <c:v>136.65999999999997</c:v>
                </c:pt>
                <c:pt idx="157">
                  <c:v>139.08000000000004</c:v>
                </c:pt>
                <c:pt idx="158">
                  <c:v>144.08000000000004</c:v>
                </c:pt>
                <c:pt idx="159">
                  <c:v>148.26</c:v>
                </c:pt>
                <c:pt idx="160">
                  <c:v>153.26</c:v>
                </c:pt>
                <c:pt idx="161">
                  <c:v>158.26</c:v>
                </c:pt>
                <c:pt idx="162">
                  <c:v>159.15999999999997</c:v>
                </c:pt>
                <c:pt idx="163">
                  <c:v>163.88</c:v>
                </c:pt>
                <c:pt idx="164">
                  <c:v>168.88</c:v>
                </c:pt>
                <c:pt idx="165">
                  <c:v>173.03999999999996</c:v>
                </c:pt>
                <c:pt idx="166">
                  <c:v>177.51999999999998</c:v>
                </c:pt>
                <c:pt idx="167">
                  <c:v>181.24</c:v>
                </c:pt>
                <c:pt idx="168">
                  <c:v>186.24</c:v>
                </c:pt>
                <c:pt idx="169">
                  <c:v>188.17999999999995</c:v>
                </c:pt>
                <c:pt idx="170">
                  <c:v>191.08000000000004</c:v>
                </c:pt>
                <c:pt idx="171">
                  <c:v>196.08000000000004</c:v>
                </c:pt>
                <c:pt idx="172">
                  <c:v>198.58000000000004</c:v>
                </c:pt>
                <c:pt idx="173">
                  <c:v>202.98000000000002</c:v>
                </c:pt>
                <c:pt idx="174">
                  <c:v>205.29999999999995</c:v>
                </c:pt>
                <c:pt idx="175">
                  <c:v>209</c:v>
                </c:pt>
                <c:pt idx="176">
                  <c:v>210.98000000000002</c:v>
                </c:pt>
                <c:pt idx="177">
                  <c:v>212.82000000000005</c:v>
                </c:pt>
                <c:pt idx="178">
                  <c:v>215.70000000000005</c:v>
                </c:pt>
                <c:pt idx="179">
                  <c:v>217.46000000000004</c:v>
                </c:pt>
                <c:pt idx="180">
                  <c:v>220.01999999999998</c:v>
                </c:pt>
                <c:pt idx="181">
                  <c:v>221.70000000000005</c:v>
                </c:pt>
                <c:pt idx="182">
                  <c:v>223.86</c:v>
                </c:pt>
                <c:pt idx="183">
                  <c:v>225.55999999999995</c:v>
                </c:pt>
                <c:pt idx="184">
                  <c:v>227.86</c:v>
                </c:pt>
                <c:pt idx="185">
                  <c:v>229.41999999999996</c:v>
                </c:pt>
                <c:pt idx="186">
                  <c:v>231.79999999999995</c:v>
                </c:pt>
                <c:pt idx="187">
                  <c:v>233.48000000000002</c:v>
                </c:pt>
                <c:pt idx="188">
                  <c:v>235</c:v>
                </c:pt>
                <c:pt idx="189">
                  <c:v>237.10000000000002</c:v>
                </c:pt>
                <c:pt idx="190">
                  <c:v>238.65999999999997</c:v>
                </c:pt>
                <c:pt idx="191">
                  <c:v>239.98000000000002</c:v>
                </c:pt>
                <c:pt idx="192">
                  <c:v>242.01999999999998</c:v>
                </c:pt>
                <c:pt idx="193">
                  <c:v>243.22000000000003</c:v>
                </c:pt>
                <c:pt idx="194">
                  <c:v>245.5</c:v>
                </c:pt>
                <c:pt idx="195">
                  <c:v>246.67999999999995</c:v>
                </c:pt>
                <c:pt idx="196">
                  <c:v>248.48000000000002</c:v>
                </c:pt>
                <c:pt idx="197">
                  <c:v>249.55999999999995</c:v>
                </c:pt>
                <c:pt idx="198">
                  <c:v>250.38</c:v>
                </c:pt>
                <c:pt idx="199">
                  <c:v>251.88</c:v>
                </c:pt>
                <c:pt idx="200">
                  <c:v>252.89999999999998</c:v>
                </c:pt>
                <c:pt idx="201">
                  <c:v>254.34000000000003</c:v>
                </c:pt>
                <c:pt idx="202">
                  <c:v>255.22000000000003</c:v>
                </c:pt>
                <c:pt idx="203">
                  <c:v>256.10000000000002</c:v>
                </c:pt>
                <c:pt idx="204">
                  <c:v>257.17999999999995</c:v>
                </c:pt>
                <c:pt idx="205">
                  <c:v>257.89999999999998</c:v>
                </c:pt>
                <c:pt idx="206">
                  <c:v>258.86</c:v>
                </c:pt>
                <c:pt idx="207">
                  <c:v>259.38</c:v>
                </c:pt>
                <c:pt idx="208">
                  <c:v>259.89999999999998</c:v>
                </c:pt>
                <c:pt idx="209">
                  <c:v>260.65999999999997</c:v>
                </c:pt>
                <c:pt idx="210">
                  <c:v>261.14</c:v>
                </c:pt>
                <c:pt idx="211">
                  <c:v>261.62</c:v>
                </c:pt>
                <c:pt idx="212">
                  <c:v>262.29999999999995</c:v>
                </c:pt>
                <c:pt idx="213">
                  <c:v>262.67999999999995</c:v>
                </c:pt>
                <c:pt idx="214">
                  <c:v>263.08000000000004</c:v>
                </c:pt>
                <c:pt idx="215">
                  <c:v>263.62</c:v>
                </c:pt>
                <c:pt idx="216">
                  <c:v>263.98</c:v>
                </c:pt>
                <c:pt idx="217">
                  <c:v>264.48</c:v>
                </c:pt>
                <c:pt idx="218">
                  <c:v>264.79999999999995</c:v>
                </c:pt>
                <c:pt idx="219">
                  <c:v>265.14</c:v>
                </c:pt>
                <c:pt idx="220">
                  <c:v>265.60000000000002</c:v>
                </c:pt>
                <c:pt idx="221">
                  <c:v>265.88</c:v>
                </c:pt>
                <c:pt idx="222">
                  <c:v>266.36</c:v>
                </c:pt>
                <c:pt idx="223">
                  <c:v>266.67999999999995</c:v>
                </c:pt>
                <c:pt idx="224">
                  <c:v>267.15999999999997</c:v>
                </c:pt>
                <c:pt idx="225">
                  <c:v>267.5</c:v>
                </c:pt>
                <c:pt idx="226">
                  <c:v>267.86</c:v>
                </c:pt>
                <c:pt idx="227">
                  <c:v>268.41999999999996</c:v>
                </c:pt>
                <c:pt idx="228">
                  <c:v>268.79999999999995</c:v>
                </c:pt>
                <c:pt idx="229">
                  <c:v>269.17999999999995</c:v>
                </c:pt>
                <c:pt idx="230">
                  <c:v>269.84000000000003</c:v>
                </c:pt>
                <c:pt idx="231">
                  <c:v>270.32000000000005</c:v>
                </c:pt>
                <c:pt idx="232">
                  <c:v>270.70000000000005</c:v>
                </c:pt>
                <c:pt idx="233">
                  <c:v>271.24</c:v>
                </c:pt>
                <c:pt idx="234">
                  <c:v>271.58000000000004</c:v>
                </c:pt>
                <c:pt idx="235">
                  <c:v>271.91999999999996</c:v>
                </c:pt>
                <c:pt idx="236">
                  <c:v>272.39999999999998</c:v>
                </c:pt>
                <c:pt idx="237">
                  <c:v>272.72000000000003</c:v>
                </c:pt>
                <c:pt idx="238">
                  <c:v>273.17999999999995</c:v>
                </c:pt>
                <c:pt idx="239">
                  <c:v>273.48</c:v>
                </c:pt>
                <c:pt idx="240">
                  <c:v>273.79999999999995</c:v>
                </c:pt>
                <c:pt idx="241">
                  <c:v>274.20000000000005</c:v>
                </c:pt>
                <c:pt idx="242">
                  <c:v>274.48</c:v>
                </c:pt>
                <c:pt idx="243">
                  <c:v>274.77999999999997</c:v>
                </c:pt>
                <c:pt idx="244">
                  <c:v>275.15999999999997</c:v>
                </c:pt>
                <c:pt idx="245">
                  <c:v>275.38</c:v>
                </c:pt>
                <c:pt idx="246">
                  <c:v>275.76</c:v>
                </c:pt>
                <c:pt idx="247">
                  <c:v>276.03999999999996</c:v>
                </c:pt>
                <c:pt idx="248">
                  <c:v>276.39999999999998</c:v>
                </c:pt>
                <c:pt idx="249">
                  <c:v>276.64</c:v>
                </c:pt>
                <c:pt idx="250">
                  <c:v>276.88</c:v>
                </c:pt>
                <c:pt idx="251">
                  <c:v>277.14</c:v>
                </c:pt>
                <c:pt idx="252">
                  <c:v>277.5</c:v>
                </c:pt>
                <c:pt idx="253">
                  <c:v>277.72000000000003</c:v>
                </c:pt>
                <c:pt idx="254">
                  <c:v>277.96000000000004</c:v>
                </c:pt>
                <c:pt idx="255">
                  <c:v>278.20000000000005</c:v>
                </c:pt>
                <c:pt idx="256">
                  <c:v>278.53999999999996</c:v>
                </c:pt>
                <c:pt idx="257">
                  <c:v>278.76</c:v>
                </c:pt>
                <c:pt idx="258">
                  <c:v>278.98</c:v>
                </c:pt>
                <c:pt idx="259">
                  <c:v>279.32000000000005</c:v>
                </c:pt>
                <c:pt idx="260">
                  <c:v>279.55999999999995</c:v>
                </c:pt>
                <c:pt idx="261">
                  <c:v>279.77999999999997</c:v>
                </c:pt>
                <c:pt idx="262">
                  <c:v>279.96000000000004</c:v>
                </c:pt>
                <c:pt idx="263">
                  <c:v>280.24</c:v>
                </c:pt>
                <c:pt idx="264">
                  <c:v>280.44000000000005</c:v>
                </c:pt>
                <c:pt idx="265">
                  <c:v>280.65999999999997</c:v>
                </c:pt>
                <c:pt idx="266">
                  <c:v>280.88</c:v>
                </c:pt>
                <c:pt idx="267">
                  <c:v>281.15999999999997</c:v>
                </c:pt>
                <c:pt idx="268">
                  <c:v>281.34000000000003</c:v>
                </c:pt>
                <c:pt idx="269">
                  <c:v>281.53999999999996</c:v>
                </c:pt>
                <c:pt idx="270">
                  <c:v>281.82000000000005</c:v>
                </c:pt>
                <c:pt idx="271">
                  <c:v>282.02</c:v>
                </c:pt>
                <c:pt idx="272">
                  <c:v>282.22000000000003</c:v>
                </c:pt>
                <c:pt idx="273">
                  <c:v>282.41999999999996</c:v>
                </c:pt>
                <c:pt idx="274">
                  <c:v>282.72000000000003</c:v>
                </c:pt>
                <c:pt idx="275">
                  <c:v>282.94000000000005</c:v>
                </c:pt>
                <c:pt idx="276">
                  <c:v>283.14</c:v>
                </c:pt>
                <c:pt idx="277">
                  <c:v>283.44000000000005</c:v>
                </c:pt>
                <c:pt idx="278">
                  <c:v>283.64</c:v>
                </c:pt>
                <c:pt idx="279">
                  <c:v>283.82000000000005</c:v>
                </c:pt>
                <c:pt idx="280">
                  <c:v>284.02</c:v>
                </c:pt>
                <c:pt idx="281">
                  <c:v>284.29999999999995</c:v>
                </c:pt>
                <c:pt idx="282">
                  <c:v>284.5</c:v>
                </c:pt>
                <c:pt idx="283">
                  <c:v>284.67999999999995</c:v>
                </c:pt>
                <c:pt idx="284">
                  <c:v>284.88</c:v>
                </c:pt>
                <c:pt idx="285">
                  <c:v>285.12</c:v>
                </c:pt>
                <c:pt idx="286">
                  <c:v>285.27999999999997</c:v>
                </c:pt>
                <c:pt idx="287">
                  <c:v>285.44000000000005</c:v>
                </c:pt>
                <c:pt idx="288">
                  <c:v>285.60000000000002</c:v>
                </c:pt>
                <c:pt idx="289">
                  <c:v>285.84000000000003</c:v>
                </c:pt>
                <c:pt idx="290">
                  <c:v>285.98</c:v>
                </c:pt>
                <c:pt idx="291">
                  <c:v>286.14</c:v>
                </c:pt>
                <c:pt idx="292">
                  <c:v>286.26</c:v>
                </c:pt>
                <c:pt idx="293">
                  <c:v>286.38</c:v>
                </c:pt>
                <c:pt idx="294">
                  <c:v>286.55999999999995</c:v>
                </c:pt>
                <c:pt idx="295">
                  <c:v>286.67999999999995</c:v>
                </c:pt>
                <c:pt idx="296">
                  <c:v>286.79999999999995</c:v>
                </c:pt>
                <c:pt idx="297">
                  <c:v>286.91999999999996</c:v>
                </c:pt>
                <c:pt idx="298">
                  <c:v>287.03999999999996</c:v>
                </c:pt>
                <c:pt idx="299">
                  <c:v>287.14</c:v>
                </c:pt>
                <c:pt idx="300">
                  <c:v>287.24</c:v>
                </c:pt>
                <c:pt idx="301">
                  <c:v>287.34000000000003</c:v>
                </c:pt>
                <c:pt idx="302">
                  <c:v>287.41999999999996</c:v>
                </c:pt>
                <c:pt idx="303">
                  <c:v>287.5</c:v>
                </c:pt>
                <c:pt idx="304">
                  <c:v>287.62</c:v>
                </c:pt>
                <c:pt idx="305">
                  <c:v>287.70000000000005</c:v>
                </c:pt>
                <c:pt idx="306">
                  <c:v>287.77999999999997</c:v>
                </c:pt>
                <c:pt idx="307">
                  <c:v>287.86</c:v>
                </c:pt>
                <c:pt idx="308">
                  <c:v>287.89999999999998</c:v>
                </c:pt>
                <c:pt idx="309">
                  <c:v>287.98</c:v>
                </c:pt>
                <c:pt idx="310">
                  <c:v>288.05999999999995</c:v>
                </c:pt>
                <c:pt idx="311">
                  <c:v>288.10000000000002</c:v>
                </c:pt>
                <c:pt idx="312">
                  <c:v>288.17999999999995</c:v>
                </c:pt>
                <c:pt idx="313">
                  <c:v>288.22000000000003</c:v>
                </c:pt>
                <c:pt idx="314">
                  <c:v>288.29999999999995</c:v>
                </c:pt>
                <c:pt idx="315">
                  <c:v>288.34000000000003</c:v>
                </c:pt>
                <c:pt idx="316">
                  <c:v>288.41999999999996</c:v>
                </c:pt>
                <c:pt idx="317">
                  <c:v>288.46000000000004</c:v>
                </c:pt>
                <c:pt idx="318">
                  <c:v>288.53999999999996</c:v>
                </c:pt>
                <c:pt idx="319">
                  <c:v>288.58000000000004</c:v>
                </c:pt>
                <c:pt idx="320">
                  <c:v>288.62</c:v>
                </c:pt>
                <c:pt idx="321">
                  <c:v>288.70000000000005</c:v>
                </c:pt>
                <c:pt idx="322">
                  <c:v>288.74</c:v>
                </c:pt>
                <c:pt idx="323">
                  <c:v>288.77999999999997</c:v>
                </c:pt>
                <c:pt idx="324">
                  <c:v>288.86</c:v>
                </c:pt>
                <c:pt idx="325">
                  <c:v>288.88</c:v>
                </c:pt>
                <c:pt idx="326">
                  <c:v>288.91999999999996</c:v>
                </c:pt>
                <c:pt idx="327">
                  <c:v>288.96000000000004</c:v>
                </c:pt>
                <c:pt idx="328">
                  <c:v>289</c:v>
                </c:pt>
                <c:pt idx="329">
                  <c:v>289.02</c:v>
                </c:pt>
                <c:pt idx="330">
                  <c:v>289.05999999999995</c:v>
                </c:pt>
                <c:pt idx="331">
                  <c:v>289.08000000000004</c:v>
                </c:pt>
                <c:pt idx="332">
                  <c:v>289.10000000000002</c:v>
                </c:pt>
                <c:pt idx="333">
                  <c:v>289.12</c:v>
                </c:pt>
                <c:pt idx="334">
                  <c:v>289.14</c:v>
                </c:pt>
                <c:pt idx="335">
                  <c:v>289.17999999999995</c:v>
                </c:pt>
                <c:pt idx="336">
                  <c:v>289.20000000000005</c:v>
                </c:pt>
                <c:pt idx="337">
                  <c:v>289.22000000000003</c:v>
                </c:pt>
                <c:pt idx="338">
                  <c:v>289.24</c:v>
                </c:pt>
                <c:pt idx="339">
                  <c:v>289.26</c:v>
                </c:pt>
                <c:pt idx="340">
                  <c:v>289.29999999999995</c:v>
                </c:pt>
                <c:pt idx="341">
                  <c:v>289.34000000000003</c:v>
                </c:pt>
                <c:pt idx="342">
                  <c:v>289.39999999999998</c:v>
                </c:pt>
                <c:pt idx="343">
                  <c:v>289.5</c:v>
                </c:pt>
                <c:pt idx="344">
                  <c:v>289.77999999999997</c:v>
                </c:pt>
                <c:pt idx="345">
                  <c:v>289.80999999999995</c:v>
                </c:pt>
                <c:pt idx="346">
                  <c:v>294.79999999999995</c:v>
                </c:pt>
                <c:pt idx="347">
                  <c:v>298.64999999999998</c:v>
                </c:pt>
              </c:numCache>
            </c:numRef>
          </c:xVal>
          <c:yVal>
            <c:numRef>
              <c:f>Data!$G$9:$G$408</c:f>
              <c:numCache>
                <c:formatCode>General</c:formatCode>
                <c:ptCount val="400"/>
                <c:pt idx="131">
                  <c:v>140</c:v>
                </c:pt>
                <c:pt idx="132">
                  <c:v>140.01</c:v>
                </c:pt>
                <c:pt idx="133">
                  <c:v>140.03</c:v>
                </c:pt>
                <c:pt idx="134">
                  <c:v>140</c:v>
                </c:pt>
                <c:pt idx="135">
                  <c:v>140.34</c:v>
                </c:pt>
                <c:pt idx="136">
                  <c:v>140.47</c:v>
                </c:pt>
                <c:pt idx="137">
                  <c:v>140.55000000000001</c:v>
                </c:pt>
                <c:pt idx="138">
                  <c:v>140.68</c:v>
                </c:pt>
                <c:pt idx="139">
                  <c:v>140.74</c:v>
                </c:pt>
                <c:pt idx="140">
                  <c:v>140.77000000000001</c:v>
                </c:pt>
                <c:pt idx="141">
                  <c:v>140.94</c:v>
                </c:pt>
                <c:pt idx="142">
                  <c:v>141.05000000000001</c:v>
                </c:pt>
                <c:pt idx="143">
                  <c:v>141.09</c:v>
                </c:pt>
                <c:pt idx="144">
                  <c:v>141.31</c:v>
                </c:pt>
                <c:pt idx="145">
                  <c:v>141.38</c:v>
                </c:pt>
                <c:pt idx="146">
                  <c:v>141.66</c:v>
                </c:pt>
                <c:pt idx="147">
                  <c:v>141.78</c:v>
                </c:pt>
                <c:pt idx="148">
                  <c:v>141.80000000000001</c:v>
                </c:pt>
                <c:pt idx="149">
                  <c:v>141.96</c:v>
                </c:pt>
                <c:pt idx="150">
                  <c:v>142.1</c:v>
                </c:pt>
                <c:pt idx="151">
                  <c:v>142.28</c:v>
                </c:pt>
                <c:pt idx="152">
                  <c:v>142.41</c:v>
                </c:pt>
                <c:pt idx="153">
                  <c:v>142.58000000000001</c:v>
                </c:pt>
                <c:pt idx="154">
                  <c:v>142.81</c:v>
                </c:pt>
                <c:pt idx="155">
                  <c:v>142.99</c:v>
                </c:pt>
                <c:pt idx="156">
                  <c:v>143.25</c:v>
                </c:pt>
                <c:pt idx="157">
                  <c:v>143.41</c:v>
                </c:pt>
                <c:pt idx="158">
                  <c:v>143.52000000000001</c:v>
                </c:pt>
                <c:pt idx="159">
                  <c:v>143.81</c:v>
                </c:pt>
                <c:pt idx="160">
                  <c:v>144</c:v>
                </c:pt>
                <c:pt idx="161">
                  <c:v>144.34</c:v>
                </c:pt>
                <c:pt idx="162">
                  <c:v>144.43</c:v>
                </c:pt>
                <c:pt idx="163">
                  <c:v>144.83000000000001</c:v>
                </c:pt>
                <c:pt idx="164">
                  <c:v>145.09</c:v>
                </c:pt>
                <c:pt idx="165">
                  <c:v>145.44999999999999</c:v>
                </c:pt>
                <c:pt idx="166">
                  <c:v>145.85</c:v>
                </c:pt>
                <c:pt idx="167">
                  <c:v>146.27000000000001</c:v>
                </c:pt>
                <c:pt idx="168">
                  <c:v>146.63</c:v>
                </c:pt>
                <c:pt idx="169">
                  <c:v>146.87</c:v>
                </c:pt>
                <c:pt idx="170">
                  <c:v>147.27000000000001</c:v>
                </c:pt>
                <c:pt idx="171">
                  <c:v>147.87</c:v>
                </c:pt>
                <c:pt idx="172">
                  <c:v>148.27000000000001</c:v>
                </c:pt>
                <c:pt idx="173">
                  <c:v>148.88</c:v>
                </c:pt>
                <c:pt idx="174">
                  <c:v>149.30000000000001</c:v>
                </c:pt>
                <c:pt idx="175">
                  <c:v>149.91999999999999</c:v>
                </c:pt>
                <c:pt idx="176">
                  <c:v>150.34</c:v>
                </c:pt>
                <c:pt idx="177">
                  <c:v>150.75</c:v>
                </c:pt>
                <c:pt idx="178">
                  <c:v>151.36000000000001</c:v>
                </c:pt>
                <c:pt idx="179">
                  <c:v>151.76</c:v>
                </c:pt>
                <c:pt idx="180">
                  <c:v>152.36000000000001</c:v>
                </c:pt>
                <c:pt idx="181">
                  <c:v>152.79</c:v>
                </c:pt>
                <c:pt idx="182">
                  <c:v>153.38999999999999</c:v>
                </c:pt>
                <c:pt idx="183">
                  <c:v>153.82</c:v>
                </c:pt>
                <c:pt idx="184">
                  <c:v>154.43</c:v>
                </c:pt>
                <c:pt idx="185">
                  <c:v>154.83000000000001</c:v>
                </c:pt>
                <c:pt idx="186">
                  <c:v>155.44</c:v>
                </c:pt>
                <c:pt idx="187">
                  <c:v>155.85</c:v>
                </c:pt>
                <c:pt idx="188">
                  <c:v>156.27000000000001</c:v>
                </c:pt>
                <c:pt idx="189">
                  <c:v>156.88999999999999</c:v>
                </c:pt>
                <c:pt idx="190">
                  <c:v>157.32</c:v>
                </c:pt>
                <c:pt idx="191">
                  <c:v>157.74</c:v>
                </c:pt>
                <c:pt idx="192">
                  <c:v>158.36000000000001</c:v>
                </c:pt>
                <c:pt idx="193">
                  <c:v>158.78</c:v>
                </c:pt>
                <c:pt idx="194">
                  <c:v>159.38999999999999</c:v>
                </c:pt>
                <c:pt idx="195">
                  <c:v>159.79</c:v>
                </c:pt>
                <c:pt idx="196">
                  <c:v>160.41</c:v>
                </c:pt>
                <c:pt idx="197">
                  <c:v>160.84</c:v>
                </c:pt>
                <c:pt idx="198">
                  <c:v>161.24</c:v>
                </c:pt>
                <c:pt idx="199">
                  <c:v>161.86000000000001</c:v>
                </c:pt>
                <c:pt idx="200">
                  <c:v>162.27000000000001</c:v>
                </c:pt>
                <c:pt idx="201">
                  <c:v>162.91999999999999</c:v>
                </c:pt>
                <c:pt idx="202">
                  <c:v>163.32</c:v>
                </c:pt>
                <c:pt idx="203">
                  <c:v>163.75</c:v>
                </c:pt>
                <c:pt idx="204">
                  <c:v>164.36</c:v>
                </c:pt>
                <c:pt idx="205">
                  <c:v>164.77</c:v>
                </c:pt>
                <c:pt idx="206">
                  <c:v>165.39</c:v>
                </c:pt>
                <c:pt idx="207">
                  <c:v>165.84</c:v>
                </c:pt>
                <c:pt idx="208">
                  <c:v>166.29</c:v>
                </c:pt>
                <c:pt idx="209">
                  <c:v>166.9</c:v>
                </c:pt>
                <c:pt idx="210">
                  <c:v>167.32</c:v>
                </c:pt>
                <c:pt idx="211">
                  <c:v>167.76</c:v>
                </c:pt>
                <c:pt idx="212">
                  <c:v>168.4</c:v>
                </c:pt>
                <c:pt idx="213">
                  <c:v>168.81</c:v>
                </c:pt>
                <c:pt idx="214">
                  <c:v>169.25</c:v>
                </c:pt>
                <c:pt idx="215">
                  <c:v>169.86</c:v>
                </c:pt>
                <c:pt idx="216">
                  <c:v>170.28</c:v>
                </c:pt>
                <c:pt idx="217">
                  <c:v>170.89</c:v>
                </c:pt>
                <c:pt idx="218">
                  <c:v>171.31</c:v>
                </c:pt>
                <c:pt idx="219">
                  <c:v>171.74</c:v>
                </c:pt>
                <c:pt idx="220">
                  <c:v>172.35</c:v>
                </c:pt>
                <c:pt idx="221">
                  <c:v>172.75</c:v>
                </c:pt>
                <c:pt idx="222">
                  <c:v>173.38</c:v>
                </c:pt>
                <c:pt idx="223">
                  <c:v>173.81</c:v>
                </c:pt>
                <c:pt idx="224">
                  <c:v>174.44</c:v>
                </c:pt>
                <c:pt idx="225">
                  <c:v>174.86</c:v>
                </c:pt>
                <c:pt idx="226">
                  <c:v>175.3</c:v>
                </c:pt>
                <c:pt idx="227">
                  <c:v>175.94</c:v>
                </c:pt>
                <c:pt idx="228">
                  <c:v>176.34</c:v>
                </c:pt>
                <c:pt idx="229">
                  <c:v>176.74</c:v>
                </c:pt>
                <c:pt idx="230">
                  <c:v>177.39</c:v>
                </c:pt>
                <c:pt idx="231">
                  <c:v>177.84</c:v>
                </c:pt>
                <c:pt idx="232">
                  <c:v>178.27</c:v>
                </c:pt>
                <c:pt idx="233">
                  <c:v>178.91</c:v>
                </c:pt>
                <c:pt idx="234">
                  <c:v>179.33</c:v>
                </c:pt>
                <c:pt idx="235">
                  <c:v>179.75</c:v>
                </c:pt>
                <c:pt idx="236">
                  <c:v>180.37</c:v>
                </c:pt>
                <c:pt idx="237">
                  <c:v>180.79</c:v>
                </c:pt>
                <c:pt idx="238">
                  <c:v>181.43</c:v>
                </c:pt>
                <c:pt idx="239">
                  <c:v>181.84</c:v>
                </c:pt>
                <c:pt idx="240">
                  <c:v>182.28</c:v>
                </c:pt>
                <c:pt idx="241">
                  <c:v>182.9</c:v>
                </c:pt>
                <c:pt idx="242">
                  <c:v>183.31</c:v>
                </c:pt>
                <c:pt idx="243">
                  <c:v>183.74</c:v>
                </c:pt>
                <c:pt idx="244">
                  <c:v>184.35</c:v>
                </c:pt>
                <c:pt idx="245">
                  <c:v>184.76</c:v>
                </c:pt>
                <c:pt idx="246">
                  <c:v>185.4</c:v>
                </c:pt>
                <c:pt idx="247">
                  <c:v>185.82</c:v>
                </c:pt>
                <c:pt idx="248">
                  <c:v>186.45</c:v>
                </c:pt>
                <c:pt idx="249">
                  <c:v>186.89</c:v>
                </c:pt>
                <c:pt idx="250">
                  <c:v>187.32</c:v>
                </c:pt>
                <c:pt idx="251">
                  <c:v>187.77</c:v>
                </c:pt>
                <c:pt idx="252">
                  <c:v>188.44</c:v>
                </c:pt>
                <c:pt idx="253">
                  <c:v>188.86</c:v>
                </c:pt>
                <c:pt idx="254">
                  <c:v>189.3</c:v>
                </c:pt>
                <c:pt idx="255">
                  <c:v>189.76</c:v>
                </c:pt>
                <c:pt idx="256">
                  <c:v>190.41</c:v>
                </c:pt>
                <c:pt idx="257">
                  <c:v>190.85</c:v>
                </c:pt>
                <c:pt idx="258">
                  <c:v>191.3</c:v>
                </c:pt>
                <c:pt idx="259">
                  <c:v>191.94</c:v>
                </c:pt>
                <c:pt idx="260">
                  <c:v>192.4</c:v>
                </c:pt>
                <c:pt idx="261">
                  <c:v>192.85</c:v>
                </c:pt>
                <c:pt idx="262">
                  <c:v>193.25</c:v>
                </c:pt>
                <c:pt idx="263">
                  <c:v>193.91</c:v>
                </c:pt>
                <c:pt idx="264">
                  <c:v>194.33</c:v>
                </c:pt>
                <c:pt idx="265">
                  <c:v>194.78</c:v>
                </c:pt>
                <c:pt idx="266">
                  <c:v>195.26</c:v>
                </c:pt>
                <c:pt idx="267">
                  <c:v>195.93</c:v>
                </c:pt>
                <c:pt idx="268">
                  <c:v>196.34</c:v>
                </c:pt>
                <c:pt idx="269">
                  <c:v>196.77</c:v>
                </c:pt>
                <c:pt idx="270">
                  <c:v>197.4</c:v>
                </c:pt>
                <c:pt idx="271">
                  <c:v>197.88</c:v>
                </c:pt>
                <c:pt idx="272">
                  <c:v>198.31</c:v>
                </c:pt>
                <c:pt idx="273">
                  <c:v>198.79</c:v>
                </c:pt>
                <c:pt idx="274">
                  <c:v>199.44</c:v>
                </c:pt>
                <c:pt idx="275">
                  <c:v>199.85</c:v>
                </c:pt>
                <c:pt idx="276">
                  <c:v>200.28</c:v>
                </c:pt>
                <c:pt idx="277">
                  <c:v>200.95</c:v>
                </c:pt>
                <c:pt idx="278">
                  <c:v>201.38</c:v>
                </c:pt>
                <c:pt idx="279">
                  <c:v>201.8</c:v>
                </c:pt>
                <c:pt idx="280">
                  <c:v>202.26</c:v>
                </c:pt>
                <c:pt idx="281">
                  <c:v>202.95</c:v>
                </c:pt>
                <c:pt idx="282">
                  <c:v>203.38</c:v>
                </c:pt>
                <c:pt idx="283">
                  <c:v>203.81</c:v>
                </c:pt>
                <c:pt idx="284">
                  <c:v>204.25</c:v>
                </c:pt>
                <c:pt idx="285">
                  <c:v>204.9</c:v>
                </c:pt>
                <c:pt idx="286">
                  <c:v>205.34</c:v>
                </c:pt>
                <c:pt idx="287">
                  <c:v>205.8</c:v>
                </c:pt>
                <c:pt idx="288">
                  <c:v>206.27</c:v>
                </c:pt>
                <c:pt idx="289">
                  <c:v>206.95</c:v>
                </c:pt>
                <c:pt idx="290">
                  <c:v>207.36</c:v>
                </c:pt>
                <c:pt idx="291">
                  <c:v>207.87</c:v>
                </c:pt>
                <c:pt idx="292">
                  <c:v>208.29</c:v>
                </c:pt>
                <c:pt idx="293">
                  <c:v>208.75</c:v>
                </c:pt>
                <c:pt idx="294">
                  <c:v>209.47</c:v>
                </c:pt>
                <c:pt idx="295">
                  <c:v>209.97</c:v>
                </c:pt>
                <c:pt idx="296">
                  <c:v>210.45</c:v>
                </c:pt>
                <c:pt idx="297">
                  <c:v>210.93</c:v>
                </c:pt>
                <c:pt idx="298">
                  <c:v>211.45</c:v>
                </c:pt>
                <c:pt idx="299">
                  <c:v>211.92</c:v>
                </c:pt>
                <c:pt idx="300">
                  <c:v>212.41</c:v>
                </c:pt>
                <c:pt idx="301">
                  <c:v>212.9</c:v>
                </c:pt>
                <c:pt idx="302">
                  <c:v>213.33</c:v>
                </c:pt>
                <c:pt idx="303">
                  <c:v>213.75</c:v>
                </c:pt>
                <c:pt idx="304">
                  <c:v>214.42</c:v>
                </c:pt>
                <c:pt idx="305">
                  <c:v>214.92</c:v>
                </c:pt>
                <c:pt idx="306">
                  <c:v>215.43</c:v>
                </c:pt>
                <c:pt idx="307">
                  <c:v>215.99</c:v>
                </c:pt>
                <c:pt idx="308">
                  <c:v>216.26</c:v>
                </c:pt>
                <c:pt idx="309">
                  <c:v>216.86</c:v>
                </c:pt>
                <c:pt idx="310">
                  <c:v>217.48</c:v>
                </c:pt>
                <c:pt idx="311">
                  <c:v>217.79</c:v>
                </c:pt>
                <c:pt idx="312">
                  <c:v>218.46</c:v>
                </c:pt>
                <c:pt idx="313">
                  <c:v>218.77</c:v>
                </c:pt>
                <c:pt idx="314">
                  <c:v>219.45</c:v>
                </c:pt>
                <c:pt idx="315">
                  <c:v>219.8</c:v>
                </c:pt>
                <c:pt idx="316">
                  <c:v>220.49</c:v>
                </c:pt>
                <c:pt idx="317">
                  <c:v>220.84</c:v>
                </c:pt>
                <c:pt idx="318">
                  <c:v>221.58</c:v>
                </c:pt>
                <c:pt idx="319">
                  <c:v>221.96</c:v>
                </c:pt>
                <c:pt idx="320">
                  <c:v>222.3</c:v>
                </c:pt>
                <c:pt idx="321">
                  <c:v>223.04</c:v>
                </c:pt>
                <c:pt idx="322">
                  <c:v>223.42</c:v>
                </c:pt>
                <c:pt idx="323">
                  <c:v>223.8</c:v>
                </c:pt>
                <c:pt idx="324">
                  <c:v>224.61</c:v>
                </c:pt>
                <c:pt idx="325">
                  <c:v>224.82</c:v>
                </c:pt>
                <c:pt idx="326">
                  <c:v>225.32</c:v>
                </c:pt>
                <c:pt idx="327">
                  <c:v>225.88</c:v>
                </c:pt>
                <c:pt idx="328">
                  <c:v>226.51</c:v>
                </c:pt>
                <c:pt idx="329">
                  <c:v>226.85</c:v>
                </c:pt>
                <c:pt idx="330">
                  <c:v>227.6</c:v>
                </c:pt>
                <c:pt idx="331">
                  <c:v>228</c:v>
                </c:pt>
                <c:pt idx="332">
                  <c:v>228.42</c:v>
                </c:pt>
                <c:pt idx="333">
                  <c:v>228.84</c:v>
                </c:pt>
                <c:pt idx="334">
                  <c:v>229.28</c:v>
                </c:pt>
                <c:pt idx="335">
                  <c:v>230.16</c:v>
                </c:pt>
                <c:pt idx="336">
                  <c:v>230.58</c:v>
                </c:pt>
                <c:pt idx="337">
                  <c:v>231</c:v>
                </c:pt>
                <c:pt idx="338">
                  <c:v>231.38</c:v>
                </c:pt>
                <c:pt idx="339">
                  <c:v>231.74</c:v>
                </c:pt>
                <c:pt idx="340">
                  <c:v>232.39</c:v>
                </c:pt>
                <c:pt idx="341">
                  <c:v>232.91</c:v>
                </c:pt>
                <c:pt idx="342">
                  <c:v>233.47</c:v>
                </c:pt>
                <c:pt idx="343">
                  <c:v>233.94</c:v>
                </c:pt>
                <c:pt idx="344">
                  <c:v>233.73</c:v>
                </c:pt>
                <c:pt idx="345">
                  <c:v>233.73</c:v>
                </c:pt>
                <c:pt idx="346">
                  <c:v>239.26</c:v>
                </c:pt>
                <c:pt idx="347">
                  <c:v>242.78</c:v>
                </c:pt>
              </c:numCache>
            </c:numRef>
          </c:yVal>
          <c:smooth val="0"/>
          <c:extLst>
            <c:ext xmlns:c16="http://schemas.microsoft.com/office/drawing/2014/chart" uri="{C3380CC4-5D6E-409C-BE32-E72D297353CC}">
              <c16:uniqueId val="{00000001-ED69-4A8E-A206-AA40F443BECF}"/>
            </c:ext>
          </c:extLst>
        </c:ser>
        <c:ser>
          <c:idx val="4"/>
          <c:order val="4"/>
          <c:tx>
            <c:strRef>
              <c:f>Data!$M$6</c:f>
              <c:strCache>
                <c:ptCount val="1"/>
                <c:pt idx="0">
                  <c:v>Wet Cake</c:v>
                </c:pt>
              </c:strCache>
            </c:strRef>
          </c:tx>
          <c:spPr>
            <a:ln w="50800">
              <a:solidFill>
                <a:srgbClr val="00B050"/>
              </a:solidFill>
              <a:prstDash val="solid"/>
            </a:ln>
          </c:spPr>
          <c:marker>
            <c:symbol val="none"/>
          </c:marker>
          <c:xVal>
            <c:numRef>
              <c:f>Data!$N$9:$N$469</c:f>
              <c:numCache>
                <c:formatCode>General</c:formatCode>
                <c:ptCount val="461"/>
                <c:pt idx="129">
                  <c:v>0</c:v>
                </c:pt>
                <c:pt idx="130">
                  <c:v>2.6000000000000227</c:v>
                </c:pt>
                <c:pt idx="131">
                  <c:v>7.6000000000000227</c:v>
                </c:pt>
                <c:pt idx="132">
                  <c:v>12.600000000000023</c:v>
                </c:pt>
                <c:pt idx="133">
                  <c:v>17.600000000000023</c:v>
                </c:pt>
                <c:pt idx="134">
                  <c:v>22.600000000000023</c:v>
                </c:pt>
                <c:pt idx="135">
                  <c:v>22.639999999999986</c:v>
                </c:pt>
                <c:pt idx="136">
                  <c:v>27.600000000000023</c:v>
                </c:pt>
                <c:pt idx="137">
                  <c:v>32.600000000000023</c:v>
                </c:pt>
                <c:pt idx="138">
                  <c:v>37.600000000000023</c:v>
                </c:pt>
                <c:pt idx="139">
                  <c:v>42.600000000000023</c:v>
                </c:pt>
                <c:pt idx="140">
                  <c:v>47.600000000000023</c:v>
                </c:pt>
                <c:pt idx="141">
                  <c:v>52.600000000000023</c:v>
                </c:pt>
                <c:pt idx="142">
                  <c:v>57.600000000000023</c:v>
                </c:pt>
                <c:pt idx="143">
                  <c:v>62.600000000000023</c:v>
                </c:pt>
                <c:pt idx="144">
                  <c:v>67.600000000000023</c:v>
                </c:pt>
                <c:pt idx="145">
                  <c:v>70.419999999999959</c:v>
                </c:pt>
                <c:pt idx="146">
                  <c:v>75.419999999999959</c:v>
                </c:pt>
                <c:pt idx="147">
                  <c:v>80.419999999999959</c:v>
                </c:pt>
                <c:pt idx="148">
                  <c:v>85.419999999999959</c:v>
                </c:pt>
                <c:pt idx="149">
                  <c:v>90.419999999999959</c:v>
                </c:pt>
                <c:pt idx="150">
                  <c:v>95.419999999999959</c:v>
                </c:pt>
                <c:pt idx="151">
                  <c:v>96.299999999999955</c:v>
                </c:pt>
                <c:pt idx="152">
                  <c:v>101.29999999999995</c:v>
                </c:pt>
                <c:pt idx="153">
                  <c:v>106.29999999999995</c:v>
                </c:pt>
                <c:pt idx="154">
                  <c:v>108.72000000000003</c:v>
                </c:pt>
                <c:pt idx="155">
                  <c:v>113.72000000000003</c:v>
                </c:pt>
                <c:pt idx="156">
                  <c:v>118.72000000000003</c:v>
                </c:pt>
                <c:pt idx="157">
                  <c:v>122.70000000000005</c:v>
                </c:pt>
                <c:pt idx="158">
                  <c:v>127.70000000000005</c:v>
                </c:pt>
                <c:pt idx="159">
                  <c:v>131.03999999999996</c:v>
                </c:pt>
                <c:pt idx="160">
                  <c:v>136.03999999999996</c:v>
                </c:pt>
                <c:pt idx="161">
                  <c:v>141.03999999999996</c:v>
                </c:pt>
                <c:pt idx="162">
                  <c:v>141.91999999999996</c:v>
                </c:pt>
                <c:pt idx="163">
                  <c:v>146.39999999999998</c:v>
                </c:pt>
                <c:pt idx="164">
                  <c:v>151.39999999999998</c:v>
                </c:pt>
                <c:pt idx="165">
                  <c:v>153.96000000000004</c:v>
                </c:pt>
                <c:pt idx="166">
                  <c:v>158.96000000000004</c:v>
                </c:pt>
                <c:pt idx="167">
                  <c:v>159.13999999999999</c:v>
                </c:pt>
                <c:pt idx="168">
                  <c:v>164.14</c:v>
                </c:pt>
                <c:pt idx="169">
                  <c:v>165.20000000000005</c:v>
                </c:pt>
                <c:pt idx="170">
                  <c:v>167.72000000000003</c:v>
                </c:pt>
                <c:pt idx="171">
                  <c:v>171.51999999999998</c:v>
                </c:pt>
                <c:pt idx="172">
                  <c:v>176.51999999999998</c:v>
                </c:pt>
                <c:pt idx="173">
                  <c:v>176.76</c:v>
                </c:pt>
                <c:pt idx="174">
                  <c:v>179.62</c:v>
                </c:pt>
                <c:pt idx="175">
                  <c:v>184.38</c:v>
                </c:pt>
                <c:pt idx="176">
                  <c:v>186.76</c:v>
                </c:pt>
                <c:pt idx="177">
                  <c:v>191.05999999999995</c:v>
                </c:pt>
                <c:pt idx="178">
                  <c:v>193.26</c:v>
                </c:pt>
                <c:pt idx="179">
                  <c:v>196.27999999999997</c:v>
                </c:pt>
                <c:pt idx="180">
                  <c:v>198.24</c:v>
                </c:pt>
                <c:pt idx="181">
                  <c:v>200.79999999999995</c:v>
                </c:pt>
                <c:pt idx="182">
                  <c:v>203.14</c:v>
                </c:pt>
                <c:pt idx="183">
                  <c:v>205.70000000000005</c:v>
                </c:pt>
                <c:pt idx="184">
                  <c:v>207.38</c:v>
                </c:pt>
                <c:pt idx="185">
                  <c:v>209.67999999999995</c:v>
                </c:pt>
                <c:pt idx="186">
                  <c:v>211</c:v>
                </c:pt>
                <c:pt idx="187">
                  <c:v>212.26</c:v>
                </c:pt>
                <c:pt idx="188">
                  <c:v>214.5</c:v>
                </c:pt>
                <c:pt idx="189">
                  <c:v>215.64</c:v>
                </c:pt>
                <c:pt idx="190">
                  <c:v>217.44000000000005</c:v>
                </c:pt>
                <c:pt idx="191">
                  <c:v>218.58000000000004</c:v>
                </c:pt>
                <c:pt idx="192">
                  <c:v>219.65999999999997</c:v>
                </c:pt>
                <c:pt idx="193">
                  <c:v>221.10000000000002</c:v>
                </c:pt>
                <c:pt idx="194">
                  <c:v>221.77999999999997</c:v>
                </c:pt>
                <c:pt idx="195">
                  <c:v>222.98000000000002</c:v>
                </c:pt>
                <c:pt idx="196">
                  <c:v>223.74</c:v>
                </c:pt>
                <c:pt idx="197">
                  <c:v>224.77999999999997</c:v>
                </c:pt>
                <c:pt idx="198">
                  <c:v>225.46000000000004</c:v>
                </c:pt>
                <c:pt idx="199">
                  <c:v>226.05999999999995</c:v>
                </c:pt>
                <c:pt idx="200">
                  <c:v>226.98000000000002</c:v>
                </c:pt>
                <c:pt idx="201">
                  <c:v>227.53999999999996</c:v>
                </c:pt>
                <c:pt idx="202">
                  <c:v>228.38</c:v>
                </c:pt>
                <c:pt idx="203">
                  <c:v>228.98000000000002</c:v>
                </c:pt>
                <c:pt idx="204">
                  <c:v>229.53999999999996</c:v>
                </c:pt>
                <c:pt idx="205">
                  <c:v>230.34000000000003</c:v>
                </c:pt>
                <c:pt idx="206">
                  <c:v>230.86</c:v>
                </c:pt>
                <c:pt idx="207">
                  <c:v>231.38</c:v>
                </c:pt>
                <c:pt idx="208">
                  <c:v>232.05999999999995</c:v>
                </c:pt>
                <c:pt idx="209">
                  <c:v>232.51999999999998</c:v>
                </c:pt>
                <c:pt idx="210">
                  <c:v>232.96000000000004</c:v>
                </c:pt>
                <c:pt idx="211">
                  <c:v>233.55999999999995</c:v>
                </c:pt>
                <c:pt idx="212">
                  <c:v>233.98000000000002</c:v>
                </c:pt>
                <c:pt idx="213">
                  <c:v>234.29999999999995</c:v>
                </c:pt>
                <c:pt idx="214">
                  <c:v>234.82000000000005</c:v>
                </c:pt>
                <c:pt idx="215">
                  <c:v>235.14</c:v>
                </c:pt>
                <c:pt idx="216">
                  <c:v>235.62</c:v>
                </c:pt>
                <c:pt idx="217">
                  <c:v>235.94000000000005</c:v>
                </c:pt>
                <c:pt idx="218">
                  <c:v>236.26</c:v>
                </c:pt>
                <c:pt idx="219">
                  <c:v>236.60000000000002</c:v>
                </c:pt>
                <c:pt idx="220">
                  <c:v>237.03999999999996</c:v>
                </c:pt>
                <c:pt idx="221">
                  <c:v>237.34000000000003</c:v>
                </c:pt>
                <c:pt idx="222">
                  <c:v>237.82000000000005</c:v>
                </c:pt>
                <c:pt idx="223">
                  <c:v>238.15999999999997</c:v>
                </c:pt>
                <c:pt idx="224">
                  <c:v>238.51999999999998</c:v>
                </c:pt>
                <c:pt idx="225">
                  <c:v>239.10000000000002</c:v>
                </c:pt>
                <c:pt idx="226">
                  <c:v>239.55999999999995</c:v>
                </c:pt>
                <c:pt idx="227">
                  <c:v>240.32000000000005</c:v>
                </c:pt>
                <c:pt idx="228">
                  <c:v>240.91999999999996</c:v>
                </c:pt>
                <c:pt idx="229">
                  <c:v>241.48000000000002</c:v>
                </c:pt>
                <c:pt idx="230">
                  <c:v>242.32000000000005</c:v>
                </c:pt>
                <c:pt idx="231">
                  <c:v>242.84000000000003</c:v>
                </c:pt>
                <c:pt idx="232">
                  <c:v>243.39999999999998</c:v>
                </c:pt>
                <c:pt idx="233">
                  <c:v>244.15999999999997</c:v>
                </c:pt>
                <c:pt idx="234">
                  <c:v>244.79999999999995</c:v>
                </c:pt>
                <c:pt idx="235">
                  <c:v>245.32000000000005</c:v>
                </c:pt>
                <c:pt idx="236">
                  <c:v>246.03999999999996</c:v>
                </c:pt>
                <c:pt idx="237">
                  <c:v>246.51999999999998</c:v>
                </c:pt>
                <c:pt idx="238">
                  <c:v>247.24</c:v>
                </c:pt>
                <c:pt idx="239">
                  <c:v>247.72000000000003</c:v>
                </c:pt>
                <c:pt idx="240">
                  <c:v>248.20000000000005</c:v>
                </c:pt>
                <c:pt idx="241">
                  <c:v>248.67999999999995</c:v>
                </c:pt>
                <c:pt idx="242">
                  <c:v>249.39999999999998</c:v>
                </c:pt>
                <c:pt idx="243">
                  <c:v>249.82000000000005</c:v>
                </c:pt>
                <c:pt idx="244">
                  <c:v>250.24</c:v>
                </c:pt>
                <c:pt idx="245">
                  <c:v>250.86</c:v>
                </c:pt>
                <c:pt idx="246">
                  <c:v>251.24</c:v>
                </c:pt>
                <c:pt idx="247">
                  <c:v>251.62</c:v>
                </c:pt>
                <c:pt idx="248">
                  <c:v>252.15999999999997</c:v>
                </c:pt>
                <c:pt idx="249">
                  <c:v>252.51999999999998</c:v>
                </c:pt>
                <c:pt idx="250">
                  <c:v>252.86</c:v>
                </c:pt>
                <c:pt idx="251">
                  <c:v>253.32000000000005</c:v>
                </c:pt>
                <c:pt idx="252">
                  <c:v>253.60000000000002</c:v>
                </c:pt>
                <c:pt idx="253">
                  <c:v>254.08000000000004</c:v>
                </c:pt>
                <c:pt idx="254">
                  <c:v>254.41999999999996</c:v>
                </c:pt>
                <c:pt idx="255">
                  <c:v>254.70000000000005</c:v>
                </c:pt>
                <c:pt idx="256">
                  <c:v>255.15999999999997</c:v>
                </c:pt>
                <c:pt idx="257">
                  <c:v>255.46000000000004</c:v>
                </c:pt>
                <c:pt idx="258">
                  <c:v>255.74</c:v>
                </c:pt>
                <c:pt idx="259">
                  <c:v>256.17999999999995</c:v>
                </c:pt>
                <c:pt idx="260">
                  <c:v>256.46000000000004</c:v>
                </c:pt>
                <c:pt idx="261">
                  <c:v>256.72000000000003</c:v>
                </c:pt>
                <c:pt idx="262">
                  <c:v>257.12</c:v>
                </c:pt>
                <c:pt idx="263">
                  <c:v>257.38</c:v>
                </c:pt>
                <c:pt idx="264">
                  <c:v>257.62</c:v>
                </c:pt>
                <c:pt idx="265">
                  <c:v>257.98</c:v>
                </c:pt>
                <c:pt idx="266">
                  <c:v>258.22000000000003</c:v>
                </c:pt>
                <c:pt idx="267">
                  <c:v>258.46000000000004</c:v>
                </c:pt>
                <c:pt idx="268">
                  <c:v>258.76</c:v>
                </c:pt>
                <c:pt idx="269">
                  <c:v>258.98</c:v>
                </c:pt>
                <c:pt idx="270">
                  <c:v>259.17999999999995</c:v>
                </c:pt>
                <c:pt idx="271">
                  <c:v>259.48</c:v>
                </c:pt>
                <c:pt idx="272">
                  <c:v>259.67999999999995</c:v>
                </c:pt>
                <c:pt idx="273">
                  <c:v>259.88</c:v>
                </c:pt>
                <c:pt idx="274">
                  <c:v>260.08000000000004</c:v>
                </c:pt>
                <c:pt idx="275">
                  <c:v>260.36</c:v>
                </c:pt>
                <c:pt idx="276">
                  <c:v>260.55999999999995</c:v>
                </c:pt>
                <c:pt idx="277">
                  <c:v>260.74</c:v>
                </c:pt>
                <c:pt idx="278">
                  <c:v>260.89999999999998</c:v>
                </c:pt>
                <c:pt idx="279">
                  <c:v>261.05999999999995</c:v>
                </c:pt>
                <c:pt idx="280">
                  <c:v>261.32000000000005</c:v>
                </c:pt>
                <c:pt idx="281">
                  <c:v>261.46000000000004</c:v>
                </c:pt>
                <c:pt idx="282">
                  <c:v>261.62</c:v>
                </c:pt>
                <c:pt idx="283">
                  <c:v>261.86</c:v>
                </c:pt>
                <c:pt idx="284">
                  <c:v>262.02</c:v>
                </c:pt>
                <c:pt idx="285">
                  <c:v>262.15999999999997</c:v>
                </c:pt>
                <c:pt idx="286">
                  <c:v>262.32000000000005</c:v>
                </c:pt>
                <c:pt idx="287">
                  <c:v>262.46000000000004</c:v>
                </c:pt>
                <c:pt idx="288">
                  <c:v>262.60000000000002</c:v>
                </c:pt>
                <c:pt idx="289">
                  <c:v>262.72000000000003</c:v>
                </c:pt>
                <c:pt idx="290">
                  <c:v>262.84000000000003</c:v>
                </c:pt>
                <c:pt idx="291">
                  <c:v>263.02</c:v>
                </c:pt>
                <c:pt idx="292">
                  <c:v>263.14</c:v>
                </c:pt>
                <c:pt idx="293">
                  <c:v>263.26</c:v>
                </c:pt>
                <c:pt idx="294">
                  <c:v>263.38</c:v>
                </c:pt>
                <c:pt idx="295">
                  <c:v>263.5</c:v>
                </c:pt>
                <c:pt idx="296">
                  <c:v>263.60000000000002</c:v>
                </c:pt>
                <c:pt idx="297">
                  <c:v>263.70000000000005</c:v>
                </c:pt>
                <c:pt idx="298">
                  <c:v>263.79999999999995</c:v>
                </c:pt>
                <c:pt idx="299">
                  <c:v>263.88</c:v>
                </c:pt>
                <c:pt idx="300">
                  <c:v>263.96000000000004</c:v>
                </c:pt>
                <c:pt idx="301">
                  <c:v>264.08000000000004</c:v>
                </c:pt>
                <c:pt idx="302">
                  <c:v>264.15999999999997</c:v>
                </c:pt>
                <c:pt idx="303">
                  <c:v>264.24</c:v>
                </c:pt>
                <c:pt idx="304">
                  <c:v>264.32000000000005</c:v>
                </c:pt>
                <c:pt idx="305">
                  <c:v>264.36</c:v>
                </c:pt>
                <c:pt idx="306">
                  <c:v>264.44000000000005</c:v>
                </c:pt>
                <c:pt idx="307">
                  <c:v>264.52</c:v>
                </c:pt>
                <c:pt idx="308">
                  <c:v>264.55999999999995</c:v>
                </c:pt>
                <c:pt idx="309">
                  <c:v>264.64</c:v>
                </c:pt>
                <c:pt idx="310">
                  <c:v>264.67999999999995</c:v>
                </c:pt>
                <c:pt idx="311">
                  <c:v>264.72000000000003</c:v>
                </c:pt>
                <c:pt idx="312">
                  <c:v>264.77999999999997</c:v>
                </c:pt>
                <c:pt idx="313">
                  <c:v>264.82000000000005</c:v>
                </c:pt>
                <c:pt idx="314">
                  <c:v>264.86</c:v>
                </c:pt>
                <c:pt idx="315">
                  <c:v>264.88</c:v>
                </c:pt>
                <c:pt idx="316">
                  <c:v>264.89999999999998</c:v>
                </c:pt>
                <c:pt idx="317">
                  <c:v>264.91999999999996</c:v>
                </c:pt>
                <c:pt idx="318">
                  <c:v>264.94000000000005</c:v>
                </c:pt>
                <c:pt idx="319">
                  <c:v>264.96000000000004</c:v>
                </c:pt>
                <c:pt idx="320">
                  <c:v>264.98</c:v>
                </c:pt>
                <c:pt idx="321">
                  <c:v>265</c:v>
                </c:pt>
                <c:pt idx="322">
                  <c:v>265.02</c:v>
                </c:pt>
                <c:pt idx="323">
                  <c:v>265.03999999999996</c:v>
                </c:pt>
                <c:pt idx="324">
                  <c:v>265.05999999999995</c:v>
                </c:pt>
                <c:pt idx="325">
                  <c:v>265.08000000000004</c:v>
                </c:pt>
                <c:pt idx="326">
                  <c:v>265.10000000000002</c:v>
                </c:pt>
                <c:pt idx="327">
                  <c:v>265.12</c:v>
                </c:pt>
                <c:pt idx="328">
                  <c:v>265.14</c:v>
                </c:pt>
                <c:pt idx="329">
                  <c:v>265.15999999999997</c:v>
                </c:pt>
                <c:pt idx="330">
                  <c:v>265.17999999999995</c:v>
                </c:pt>
                <c:pt idx="331">
                  <c:v>265.20000000000005</c:v>
                </c:pt>
                <c:pt idx="332">
                  <c:v>265.22000000000003</c:v>
                </c:pt>
                <c:pt idx="333">
                  <c:v>265.24</c:v>
                </c:pt>
                <c:pt idx="334">
                  <c:v>265.26</c:v>
                </c:pt>
                <c:pt idx="335">
                  <c:v>265.27999999999997</c:v>
                </c:pt>
                <c:pt idx="336">
                  <c:v>265.29999999999995</c:v>
                </c:pt>
                <c:pt idx="337">
                  <c:v>265.34000000000003</c:v>
                </c:pt>
                <c:pt idx="338">
                  <c:v>265.38</c:v>
                </c:pt>
                <c:pt idx="339">
                  <c:v>265.40999999999997</c:v>
                </c:pt>
                <c:pt idx="340">
                  <c:v>270.40999999999997</c:v>
                </c:pt>
                <c:pt idx="341">
                  <c:v>275.40999999999997</c:v>
                </c:pt>
                <c:pt idx="342">
                  <c:v>280.14</c:v>
                </c:pt>
                <c:pt idx="343">
                  <c:v>285.14</c:v>
                </c:pt>
                <c:pt idx="344">
                  <c:v>290.14</c:v>
                </c:pt>
                <c:pt idx="345">
                  <c:v>295.14</c:v>
                </c:pt>
                <c:pt idx="346">
                  <c:v>300.14</c:v>
                </c:pt>
                <c:pt idx="347">
                  <c:v>300.17999999999995</c:v>
                </c:pt>
                <c:pt idx="348">
                  <c:v>305.14</c:v>
                </c:pt>
                <c:pt idx="349">
                  <c:v>310.03999999999996</c:v>
                </c:pt>
                <c:pt idx="350">
                  <c:v>315.03999999999996</c:v>
                </c:pt>
                <c:pt idx="351">
                  <c:v>318.53999999999996</c:v>
                </c:pt>
              </c:numCache>
            </c:numRef>
          </c:xVal>
          <c:yVal>
            <c:numRef>
              <c:f>Data!$L$9:$L$469</c:f>
              <c:numCache>
                <c:formatCode>General</c:formatCode>
                <c:ptCount val="461"/>
                <c:pt idx="129">
                  <c:v>139.72999999999999</c:v>
                </c:pt>
                <c:pt idx="130">
                  <c:v>140</c:v>
                </c:pt>
                <c:pt idx="131">
                  <c:v>139.71</c:v>
                </c:pt>
                <c:pt idx="132">
                  <c:v>139.77000000000001</c:v>
                </c:pt>
                <c:pt idx="133">
                  <c:v>139.86000000000001</c:v>
                </c:pt>
                <c:pt idx="134">
                  <c:v>139.99</c:v>
                </c:pt>
                <c:pt idx="135">
                  <c:v>139.99</c:v>
                </c:pt>
                <c:pt idx="136">
                  <c:v>140.04</c:v>
                </c:pt>
                <c:pt idx="137">
                  <c:v>140.02000000000001</c:v>
                </c:pt>
                <c:pt idx="138">
                  <c:v>140.11000000000001</c:v>
                </c:pt>
                <c:pt idx="139">
                  <c:v>140.21</c:v>
                </c:pt>
                <c:pt idx="140">
                  <c:v>140.13999999999999</c:v>
                </c:pt>
                <c:pt idx="141">
                  <c:v>140.37</c:v>
                </c:pt>
                <c:pt idx="142">
                  <c:v>140.37</c:v>
                </c:pt>
                <c:pt idx="143">
                  <c:v>140.49</c:v>
                </c:pt>
                <c:pt idx="144">
                  <c:v>140.52000000000001</c:v>
                </c:pt>
                <c:pt idx="145">
                  <c:v>140.62</c:v>
                </c:pt>
                <c:pt idx="146">
                  <c:v>140.72</c:v>
                </c:pt>
                <c:pt idx="147">
                  <c:v>140.71</c:v>
                </c:pt>
                <c:pt idx="148">
                  <c:v>140.91</c:v>
                </c:pt>
                <c:pt idx="149">
                  <c:v>140.94</c:v>
                </c:pt>
                <c:pt idx="150">
                  <c:v>141.19999999999999</c:v>
                </c:pt>
                <c:pt idx="151">
                  <c:v>141.22</c:v>
                </c:pt>
                <c:pt idx="152">
                  <c:v>141.22999999999999</c:v>
                </c:pt>
                <c:pt idx="153">
                  <c:v>141.5</c:v>
                </c:pt>
                <c:pt idx="154">
                  <c:v>141.63999999999999</c:v>
                </c:pt>
                <c:pt idx="155">
                  <c:v>141.79</c:v>
                </c:pt>
                <c:pt idx="156">
                  <c:v>141.94999999999999</c:v>
                </c:pt>
                <c:pt idx="157">
                  <c:v>142.25</c:v>
                </c:pt>
                <c:pt idx="158">
                  <c:v>142.43</c:v>
                </c:pt>
                <c:pt idx="159">
                  <c:v>142.66</c:v>
                </c:pt>
                <c:pt idx="160">
                  <c:v>142.94999999999999</c:v>
                </c:pt>
                <c:pt idx="161">
                  <c:v>143.19999999999999</c:v>
                </c:pt>
                <c:pt idx="162">
                  <c:v>143.27000000000001</c:v>
                </c:pt>
                <c:pt idx="163">
                  <c:v>143.66999999999999</c:v>
                </c:pt>
                <c:pt idx="164">
                  <c:v>143.97999999999999</c:v>
                </c:pt>
                <c:pt idx="165">
                  <c:v>144.29</c:v>
                </c:pt>
                <c:pt idx="166">
                  <c:v>144.66999999999999</c:v>
                </c:pt>
                <c:pt idx="167">
                  <c:v>144.69</c:v>
                </c:pt>
                <c:pt idx="168">
                  <c:v>145.19999999999999</c:v>
                </c:pt>
                <c:pt idx="169">
                  <c:v>145.30000000000001</c:v>
                </c:pt>
                <c:pt idx="170">
                  <c:v>145.72</c:v>
                </c:pt>
                <c:pt idx="171">
                  <c:v>146.13</c:v>
                </c:pt>
                <c:pt idx="172">
                  <c:v>146.68</c:v>
                </c:pt>
                <c:pt idx="173">
                  <c:v>146.72999999999999</c:v>
                </c:pt>
                <c:pt idx="174">
                  <c:v>147.13</c:v>
                </c:pt>
                <c:pt idx="175">
                  <c:v>147.74</c:v>
                </c:pt>
                <c:pt idx="176">
                  <c:v>148.15</c:v>
                </c:pt>
                <c:pt idx="177">
                  <c:v>148.76</c:v>
                </c:pt>
                <c:pt idx="178">
                  <c:v>149.16</c:v>
                </c:pt>
                <c:pt idx="179">
                  <c:v>149.76</c:v>
                </c:pt>
                <c:pt idx="180">
                  <c:v>150.16</c:v>
                </c:pt>
                <c:pt idx="181">
                  <c:v>150.76</c:v>
                </c:pt>
                <c:pt idx="182">
                  <c:v>151.16999999999999</c:v>
                </c:pt>
                <c:pt idx="183">
                  <c:v>151.78</c:v>
                </c:pt>
                <c:pt idx="184">
                  <c:v>152.19</c:v>
                </c:pt>
                <c:pt idx="185">
                  <c:v>152.80000000000001</c:v>
                </c:pt>
                <c:pt idx="186">
                  <c:v>153.22</c:v>
                </c:pt>
                <c:pt idx="187">
                  <c:v>153.63</c:v>
                </c:pt>
                <c:pt idx="188">
                  <c:v>154.25</c:v>
                </c:pt>
                <c:pt idx="189">
                  <c:v>154.65</c:v>
                </c:pt>
                <c:pt idx="190">
                  <c:v>155.29</c:v>
                </c:pt>
                <c:pt idx="191">
                  <c:v>155.72</c:v>
                </c:pt>
                <c:pt idx="192">
                  <c:v>156.15</c:v>
                </c:pt>
                <c:pt idx="193">
                  <c:v>156.78</c:v>
                </c:pt>
                <c:pt idx="194">
                  <c:v>157.19999999999999</c:v>
                </c:pt>
                <c:pt idx="195">
                  <c:v>157.81</c:v>
                </c:pt>
                <c:pt idx="196">
                  <c:v>158.21</c:v>
                </c:pt>
                <c:pt idx="197">
                  <c:v>158.82</c:v>
                </c:pt>
                <c:pt idx="198">
                  <c:v>159.22</c:v>
                </c:pt>
                <c:pt idx="199">
                  <c:v>159.62</c:v>
                </c:pt>
                <c:pt idx="200">
                  <c:v>160.25</c:v>
                </c:pt>
                <c:pt idx="201">
                  <c:v>160.65</c:v>
                </c:pt>
                <c:pt idx="202">
                  <c:v>161.28</c:v>
                </c:pt>
                <c:pt idx="203">
                  <c:v>161.72</c:v>
                </c:pt>
                <c:pt idx="204">
                  <c:v>162.13999999999999</c:v>
                </c:pt>
                <c:pt idx="205">
                  <c:v>162.75</c:v>
                </c:pt>
                <c:pt idx="206">
                  <c:v>163.19</c:v>
                </c:pt>
                <c:pt idx="207">
                  <c:v>163.63999999999999</c:v>
                </c:pt>
                <c:pt idx="208">
                  <c:v>164.28</c:v>
                </c:pt>
                <c:pt idx="209">
                  <c:v>164.69</c:v>
                </c:pt>
                <c:pt idx="210">
                  <c:v>165.12</c:v>
                </c:pt>
                <c:pt idx="211">
                  <c:v>165.8</c:v>
                </c:pt>
                <c:pt idx="212">
                  <c:v>166.22</c:v>
                </c:pt>
                <c:pt idx="213">
                  <c:v>166.63</c:v>
                </c:pt>
                <c:pt idx="214">
                  <c:v>167.26</c:v>
                </c:pt>
                <c:pt idx="215">
                  <c:v>167.68</c:v>
                </c:pt>
                <c:pt idx="216">
                  <c:v>168.3</c:v>
                </c:pt>
                <c:pt idx="217">
                  <c:v>168.72</c:v>
                </c:pt>
                <c:pt idx="218">
                  <c:v>169.16</c:v>
                </c:pt>
                <c:pt idx="219">
                  <c:v>169.62</c:v>
                </c:pt>
                <c:pt idx="220">
                  <c:v>170.22</c:v>
                </c:pt>
                <c:pt idx="221">
                  <c:v>170.65</c:v>
                </c:pt>
                <c:pt idx="222">
                  <c:v>171.3</c:v>
                </c:pt>
                <c:pt idx="223">
                  <c:v>171.7</c:v>
                </c:pt>
                <c:pt idx="224">
                  <c:v>172.12</c:v>
                </c:pt>
                <c:pt idx="225">
                  <c:v>172.75</c:v>
                </c:pt>
                <c:pt idx="226">
                  <c:v>173.17</c:v>
                </c:pt>
                <c:pt idx="227">
                  <c:v>173.81</c:v>
                </c:pt>
                <c:pt idx="228">
                  <c:v>174.24</c:v>
                </c:pt>
                <c:pt idx="229">
                  <c:v>174.66</c:v>
                </c:pt>
                <c:pt idx="230">
                  <c:v>175.31</c:v>
                </c:pt>
                <c:pt idx="231">
                  <c:v>175.72</c:v>
                </c:pt>
                <c:pt idx="232">
                  <c:v>176.15</c:v>
                </c:pt>
                <c:pt idx="233">
                  <c:v>176.78</c:v>
                </c:pt>
                <c:pt idx="234">
                  <c:v>177.21</c:v>
                </c:pt>
                <c:pt idx="235">
                  <c:v>177.63</c:v>
                </c:pt>
                <c:pt idx="236">
                  <c:v>178.27</c:v>
                </c:pt>
                <c:pt idx="237">
                  <c:v>178.68</c:v>
                </c:pt>
                <c:pt idx="238">
                  <c:v>179.32</c:v>
                </c:pt>
                <c:pt idx="239">
                  <c:v>179.76</c:v>
                </c:pt>
                <c:pt idx="240">
                  <c:v>180.21</c:v>
                </c:pt>
                <c:pt idx="241">
                  <c:v>180.66</c:v>
                </c:pt>
                <c:pt idx="242">
                  <c:v>181.33</c:v>
                </c:pt>
                <c:pt idx="243">
                  <c:v>181.77</c:v>
                </c:pt>
                <c:pt idx="244">
                  <c:v>182.19</c:v>
                </c:pt>
                <c:pt idx="245">
                  <c:v>182.82</c:v>
                </c:pt>
                <c:pt idx="246">
                  <c:v>183.24</c:v>
                </c:pt>
                <c:pt idx="247">
                  <c:v>183.66</c:v>
                </c:pt>
                <c:pt idx="248">
                  <c:v>184.27</c:v>
                </c:pt>
                <c:pt idx="249">
                  <c:v>184.68</c:v>
                </c:pt>
                <c:pt idx="250">
                  <c:v>185.12</c:v>
                </c:pt>
                <c:pt idx="251">
                  <c:v>185.76</c:v>
                </c:pt>
                <c:pt idx="252">
                  <c:v>186.19</c:v>
                </c:pt>
                <c:pt idx="253">
                  <c:v>186.83</c:v>
                </c:pt>
                <c:pt idx="254">
                  <c:v>187.27</c:v>
                </c:pt>
                <c:pt idx="255">
                  <c:v>187.67</c:v>
                </c:pt>
                <c:pt idx="256">
                  <c:v>188.32</c:v>
                </c:pt>
                <c:pt idx="257">
                  <c:v>188.73</c:v>
                </c:pt>
                <c:pt idx="258">
                  <c:v>189.14</c:v>
                </c:pt>
                <c:pt idx="259">
                  <c:v>189.78</c:v>
                </c:pt>
                <c:pt idx="260">
                  <c:v>190.21</c:v>
                </c:pt>
                <c:pt idx="261">
                  <c:v>190.63</c:v>
                </c:pt>
                <c:pt idx="262">
                  <c:v>191.29</c:v>
                </c:pt>
                <c:pt idx="263">
                  <c:v>191.74</c:v>
                </c:pt>
                <c:pt idx="264">
                  <c:v>192.16</c:v>
                </c:pt>
                <c:pt idx="265">
                  <c:v>192.8</c:v>
                </c:pt>
                <c:pt idx="266">
                  <c:v>193.24</c:v>
                </c:pt>
                <c:pt idx="267">
                  <c:v>193.69</c:v>
                </c:pt>
                <c:pt idx="268">
                  <c:v>194.29</c:v>
                </c:pt>
                <c:pt idx="269">
                  <c:v>194.73</c:v>
                </c:pt>
                <c:pt idx="270">
                  <c:v>195.14</c:v>
                </c:pt>
                <c:pt idx="271">
                  <c:v>195.81</c:v>
                </c:pt>
                <c:pt idx="272">
                  <c:v>196.24</c:v>
                </c:pt>
                <c:pt idx="273">
                  <c:v>196.68</c:v>
                </c:pt>
                <c:pt idx="274">
                  <c:v>197.14</c:v>
                </c:pt>
                <c:pt idx="275">
                  <c:v>197.81</c:v>
                </c:pt>
                <c:pt idx="276">
                  <c:v>198.31</c:v>
                </c:pt>
                <c:pt idx="277">
                  <c:v>198.77</c:v>
                </c:pt>
                <c:pt idx="278">
                  <c:v>199.19</c:v>
                </c:pt>
                <c:pt idx="279">
                  <c:v>199.62</c:v>
                </c:pt>
                <c:pt idx="280">
                  <c:v>200.29</c:v>
                </c:pt>
                <c:pt idx="281">
                  <c:v>200.71</c:v>
                </c:pt>
                <c:pt idx="282">
                  <c:v>201.14</c:v>
                </c:pt>
                <c:pt idx="283">
                  <c:v>201.85</c:v>
                </c:pt>
                <c:pt idx="284">
                  <c:v>202.34</c:v>
                </c:pt>
                <c:pt idx="285">
                  <c:v>202.78</c:v>
                </c:pt>
                <c:pt idx="286">
                  <c:v>203.29</c:v>
                </c:pt>
                <c:pt idx="287">
                  <c:v>203.79</c:v>
                </c:pt>
                <c:pt idx="288">
                  <c:v>204.25</c:v>
                </c:pt>
                <c:pt idx="289">
                  <c:v>204.69</c:v>
                </c:pt>
                <c:pt idx="290">
                  <c:v>205.14</c:v>
                </c:pt>
                <c:pt idx="291">
                  <c:v>205.82</c:v>
                </c:pt>
                <c:pt idx="292">
                  <c:v>206.28</c:v>
                </c:pt>
                <c:pt idx="293">
                  <c:v>206.79</c:v>
                </c:pt>
                <c:pt idx="294">
                  <c:v>207.29</c:v>
                </c:pt>
                <c:pt idx="295">
                  <c:v>207.82</c:v>
                </c:pt>
                <c:pt idx="296">
                  <c:v>208.31</c:v>
                </c:pt>
                <c:pt idx="297">
                  <c:v>208.78</c:v>
                </c:pt>
                <c:pt idx="298">
                  <c:v>209.29</c:v>
                </c:pt>
                <c:pt idx="299">
                  <c:v>209.69</c:v>
                </c:pt>
                <c:pt idx="300">
                  <c:v>210.13</c:v>
                </c:pt>
                <c:pt idx="301">
                  <c:v>210.81</c:v>
                </c:pt>
                <c:pt idx="302">
                  <c:v>211.3</c:v>
                </c:pt>
                <c:pt idx="303">
                  <c:v>211.81</c:v>
                </c:pt>
                <c:pt idx="304">
                  <c:v>212.36</c:v>
                </c:pt>
                <c:pt idx="305">
                  <c:v>212.63</c:v>
                </c:pt>
                <c:pt idx="306">
                  <c:v>213.21</c:v>
                </c:pt>
                <c:pt idx="307">
                  <c:v>213.85</c:v>
                </c:pt>
                <c:pt idx="308">
                  <c:v>214.18</c:v>
                </c:pt>
                <c:pt idx="309">
                  <c:v>214.89</c:v>
                </c:pt>
                <c:pt idx="310">
                  <c:v>215.28</c:v>
                </c:pt>
                <c:pt idx="311">
                  <c:v>215.68</c:v>
                </c:pt>
                <c:pt idx="312">
                  <c:v>216.32</c:v>
                </c:pt>
                <c:pt idx="313">
                  <c:v>216.81</c:v>
                </c:pt>
                <c:pt idx="314">
                  <c:v>217.4</c:v>
                </c:pt>
                <c:pt idx="315">
                  <c:v>217.91</c:v>
                </c:pt>
                <c:pt idx="316">
                  <c:v>218.65</c:v>
                </c:pt>
                <c:pt idx="317">
                  <c:v>219.89</c:v>
                </c:pt>
                <c:pt idx="318">
                  <c:v>221.29</c:v>
                </c:pt>
                <c:pt idx="319">
                  <c:v>222.86</c:v>
                </c:pt>
                <c:pt idx="320">
                  <c:v>224.88</c:v>
                </c:pt>
                <c:pt idx="321">
                  <c:v>227.36</c:v>
                </c:pt>
                <c:pt idx="322">
                  <c:v>230.14</c:v>
                </c:pt>
                <c:pt idx="323">
                  <c:v>233.1</c:v>
                </c:pt>
                <c:pt idx="324">
                  <c:v>236.32</c:v>
                </c:pt>
                <c:pt idx="325">
                  <c:v>239.59</c:v>
                </c:pt>
                <c:pt idx="326">
                  <c:v>242.74</c:v>
                </c:pt>
                <c:pt idx="327">
                  <c:v>245.5</c:v>
                </c:pt>
                <c:pt idx="328">
                  <c:v>247.9</c:v>
                </c:pt>
                <c:pt idx="329">
                  <c:v>249.93</c:v>
                </c:pt>
                <c:pt idx="330">
                  <c:v>251.68</c:v>
                </c:pt>
                <c:pt idx="331">
                  <c:v>253.1</c:v>
                </c:pt>
                <c:pt idx="332">
                  <c:v>254.27</c:v>
                </c:pt>
                <c:pt idx="333">
                  <c:v>255.23</c:v>
                </c:pt>
                <c:pt idx="334">
                  <c:v>255.99</c:v>
                </c:pt>
                <c:pt idx="335">
                  <c:v>256.45999999999998</c:v>
                </c:pt>
                <c:pt idx="336">
                  <c:v>256.77999999999997</c:v>
                </c:pt>
                <c:pt idx="337">
                  <c:v>256.98</c:v>
                </c:pt>
                <c:pt idx="338">
                  <c:v>256.73</c:v>
                </c:pt>
                <c:pt idx="339">
                  <c:v>256.51</c:v>
                </c:pt>
                <c:pt idx="340">
                  <c:v>251.39</c:v>
                </c:pt>
                <c:pt idx="341">
                  <c:v>263.31</c:v>
                </c:pt>
                <c:pt idx="342">
                  <c:v>266.73</c:v>
                </c:pt>
                <c:pt idx="343">
                  <c:v>267.27999999999997</c:v>
                </c:pt>
                <c:pt idx="344">
                  <c:v>267.95</c:v>
                </c:pt>
                <c:pt idx="345">
                  <c:v>268.48</c:v>
                </c:pt>
                <c:pt idx="346">
                  <c:v>268.94</c:v>
                </c:pt>
                <c:pt idx="347">
                  <c:v>268.94</c:v>
                </c:pt>
                <c:pt idx="348">
                  <c:v>269.31</c:v>
                </c:pt>
                <c:pt idx="349">
                  <c:v>269.55</c:v>
                </c:pt>
                <c:pt idx="350">
                  <c:v>269.97000000000003</c:v>
                </c:pt>
                <c:pt idx="351">
                  <c:v>270.14999999999998</c:v>
                </c:pt>
              </c:numCache>
            </c:numRef>
          </c:yVal>
          <c:smooth val="0"/>
          <c:extLst>
            <c:ext xmlns:c16="http://schemas.microsoft.com/office/drawing/2014/chart" uri="{C3380CC4-5D6E-409C-BE32-E72D297353CC}">
              <c16:uniqueId val="{00000002-ED69-4A8E-A206-AA40F443BECF}"/>
            </c:ext>
          </c:extLst>
        </c:ser>
        <c:ser>
          <c:idx val="6"/>
          <c:order val="6"/>
          <c:tx>
            <c:strRef>
              <c:f>Data!$R$6</c:f>
              <c:strCache>
                <c:ptCount val="1"/>
                <c:pt idx="0">
                  <c:v>Rust Contaminated</c:v>
                </c:pt>
              </c:strCache>
            </c:strRef>
          </c:tx>
          <c:spPr>
            <a:ln w="50800">
              <a:solidFill>
                <a:srgbClr val="0070C0"/>
              </a:solidFill>
              <a:prstDash val="solid"/>
            </a:ln>
          </c:spPr>
          <c:marker>
            <c:symbol val="none"/>
          </c:marker>
          <c:xVal>
            <c:numRef>
              <c:f>Data!$S$9:$S$337</c:f>
              <c:numCache>
                <c:formatCode>General</c:formatCode>
                <c:ptCount val="329"/>
                <c:pt idx="0">
                  <c:v>-556</c:v>
                </c:pt>
                <c:pt idx="1">
                  <c:v>-555</c:v>
                </c:pt>
                <c:pt idx="2">
                  <c:v>-551</c:v>
                </c:pt>
                <c:pt idx="3">
                  <c:v>-546</c:v>
                </c:pt>
                <c:pt idx="4">
                  <c:v>-541</c:v>
                </c:pt>
                <c:pt idx="5">
                  <c:v>-536</c:v>
                </c:pt>
                <c:pt idx="6">
                  <c:v>-535.96</c:v>
                </c:pt>
                <c:pt idx="7">
                  <c:v>-531</c:v>
                </c:pt>
                <c:pt idx="8">
                  <c:v>-526</c:v>
                </c:pt>
                <c:pt idx="9">
                  <c:v>-521</c:v>
                </c:pt>
                <c:pt idx="10">
                  <c:v>-517.80999999999995</c:v>
                </c:pt>
                <c:pt idx="11">
                  <c:v>-512.80999999999995</c:v>
                </c:pt>
                <c:pt idx="12">
                  <c:v>-511.88</c:v>
                </c:pt>
                <c:pt idx="13">
                  <c:v>-506.88</c:v>
                </c:pt>
                <c:pt idx="14">
                  <c:v>-501.88</c:v>
                </c:pt>
                <c:pt idx="15">
                  <c:v>-496.88</c:v>
                </c:pt>
                <c:pt idx="16">
                  <c:v>-491.88</c:v>
                </c:pt>
                <c:pt idx="17">
                  <c:v>-491.84000000000003</c:v>
                </c:pt>
                <c:pt idx="18">
                  <c:v>-486.88</c:v>
                </c:pt>
                <c:pt idx="19">
                  <c:v>-481.88</c:v>
                </c:pt>
                <c:pt idx="20">
                  <c:v>-481.84000000000003</c:v>
                </c:pt>
                <c:pt idx="21">
                  <c:v>-476.84000000000003</c:v>
                </c:pt>
                <c:pt idx="22">
                  <c:v>-475.98</c:v>
                </c:pt>
                <c:pt idx="23">
                  <c:v>-470.98</c:v>
                </c:pt>
                <c:pt idx="24">
                  <c:v>-465.98</c:v>
                </c:pt>
                <c:pt idx="25">
                  <c:v>-460.98</c:v>
                </c:pt>
                <c:pt idx="26">
                  <c:v>-455.98</c:v>
                </c:pt>
                <c:pt idx="27">
                  <c:v>-455.94</c:v>
                </c:pt>
                <c:pt idx="28">
                  <c:v>-450.98</c:v>
                </c:pt>
                <c:pt idx="29">
                  <c:v>-445.98</c:v>
                </c:pt>
                <c:pt idx="30">
                  <c:v>-445.94</c:v>
                </c:pt>
                <c:pt idx="31">
                  <c:v>-440.94</c:v>
                </c:pt>
                <c:pt idx="32">
                  <c:v>-440</c:v>
                </c:pt>
                <c:pt idx="33">
                  <c:v>-435</c:v>
                </c:pt>
                <c:pt idx="34">
                  <c:v>-430</c:v>
                </c:pt>
                <c:pt idx="35">
                  <c:v>-425</c:v>
                </c:pt>
                <c:pt idx="36">
                  <c:v>-420</c:v>
                </c:pt>
                <c:pt idx="37">
                  <c:v>-419.96000000000004</c:v>
                </c:pt>
                <c:pt idx="38">
                  <c:v>-416.25</c:v>
                </c:pt>
                <c:pt idx="39">
                  <c:v>-411.25</c:v>
                </c:pt>
                <c:pt idx="40">
                  <c:v>-409.68</c:v>
                </c:pt>
                <c:pt idx="41">
                  <c:v>-404.68</c:v>
                </c:pt>
                <c:pt idx="42">
                  <c:v>-399.68</c:v>
                </c:pt>
                <c:pt idx="43">
                  <c:v>-394.68</c:v>
                </c:pt>
                <c:pt idx="44">
                  <c:v>-389.68</c:v>
                </c:pt>
                <c:pt idx="45">
                  <c:v>-389.64</c:v>
                </c:pt>
                <c:pt idx="46">
                  <c:v>-384.68</c:v>
                </c:pt>
                <c:pt idx="47">
                  <c:v>-379.68</c:v>
                </c:pt>
                <c:pt idx="48">
                  <c:v>-379.63</c:v>
                </c:pt>
                <c:pt idx="49">
                  <c:v>-374.63</c:v>
                </c:pt>
                <c:pt idx="50">
                  <c:v>-373.46000000000004</c:v>
                </c:pt>
                <c:pt idx="51">
                  <c:v>-368.46000000000004</c:v>
                </c:pt>
                <c:pt idx="52">
                  <c:v>-363.46000000000004</c:v>
                </c:pt>
                <c:pt idx="53">
                  <c:v>-358.46000000000004</c:v>
                </c:pt>
                <c:pt idx="54">
                  <c:v>-353.46000000000004</c:v>
                </c:pt>
                <c:pt idx="55">
                  <c:v>-353.41999999999996</c:v>
                </c:pt>
                <c:pt idx="56">
                  <c:v>-348.46000000000004</c:v>
                </c:pt>
                <c:pt idx="57">
                  <c:v>-343.46000000000004</c:v>
                </c:pt>
                <c:pt idx="58">
                  <c:v>-338.46000000000004</c:v>
                </c:pt>
                <c:pt idx="59">
                  <c:v>-333.46000000000004</c:v>
                </c:pt>
                <c:pt idx="60">
                  <c:v>-333.39</c:v>
                </c:pt>
                <c:pt idx="61">
                  <c:v>-328.39</c:v>
                </c:pt>
                <c:pt idx="62">
                  <c:v>-327.98</c:v>
                </c:pt>
                <c:pt idx="63">
                  <c:v>-322.98</c:v>
                </c:pt>
                <c:pt idx="64">
                  <c:v>-317.98</c:v>
                </c:pt>
                <c:pt idx="65">
                  <c:v>-312.98</c:v>
                </c:pt>
                <c:pt idx="66">
                  <c:v>-307.98</c:v>
                </c:pt>
                <c:pt idx="67">
                  <c:v>-307.94</c:v>
                </c:pt>
                <c:pt idx="68">
                  <c:v>-302.98</c:v>
                </c:pt>
                <c:pt idx="69">
                  <c:v>-297.98</c:v>
                </c:pt>
                <c:pt idx="70">
                  <c:v>-297.93</c:v>
                </c:pt>
                <c:pt idx="71">
                  <c:v>-292.93</c:v>
                </c:pt>
                <c:pt idx="72">
                  <c:v>-291.89999999999998</c:v>
                </c:pt>
                <c:pt idx="73">
                  <c:v>-286.89999999999998</c:v>
                </c:pt>
                <c:pt idx="74">
                  <c:v>-281.89999999999998</c:v>
                </c:pt>
                <c:pt idx="75">
                  <c:v>-276.89999999999998</c:v>
                </c:pt>
                <c:pt idx="76">
                  <c:v>-271.89999999999998</c:v>
                </c:pt>
                <c:pt idx="77">
                  <c:v>-271.86</c:v>
                </c:pt>
                <c:pt idx="78">
                  <c:v>-266.89999999999998</c:v>
                </c:pt>
                <c:pt idx="79">
                  <c:v>-261.89999999999998</c:v>
                </c:pt>
                <c:pt idx="80">
                  <c:v>-258.33</c:v>
                </c:pt>
                <c:pt idx="81">
                  <c:v>-253.32999999999998</c:v>
                </c:pt>
                <c:pt idx="82">
                  <c:v>-252.8</c:v>
                </c:pt>
                <c:pt idx="83">
                  <c:v>-247.8</c:v>
                </c:pt>
                <c:pt idx="84">
                  <c:v>-242.8</c:v>
                </c:pt>
                <c:pt idx="85">
                  <c:v>-237.8</c:v>
                </c:pt>
                <c:pt idx="86">
                  <c:v>-232.8</c:v>
                </c:pt>
                <c:pt idx="87">
                  <c:v>-232.76</c:v>
                </c:pt>
                <c:pt idx="88">
                  <c:v>-227.8</c:v>
                </c:pt>
                <c:pt idx="89">
                  <c:v>-222.8</c:v>
                </c:pt>
                <c:pt idx="90">
                  <c:v>-222.73000000000002</c:v>
                </c:pt>
                <c:pt idx="91">
                  <c:v>-217.73000000000002</c:v>
                </c:pt>
                <c:pt idx="92">
                  <c:v>-216.7</c:v>
                </c:pt>
                <c:pt idx="93">
                  <c:v>-211.7</c:v>
                </c:pt>
                <c:pt idx="94">
                  <c:v>-206.7</c:v>
                </c:pt>
                <c:pt idx="95">
                  <c:v>-201.7</c:v>
                </c:pt>
                <c:pt idx="96">
                  <c:v>-196.7</c:v>
                </c:pt>
                <c:pt idx="97">
                  <c:v>-196.66000000000003</c:v>
                </c:pt>
                <c:pt idx="98">
                  <c:v>-191.7</c:v>
                </c:pt>
                <c:pt idx="99">
                  <c:v>-186.7</c:v>
                </c:pt>
                <c:pt idx="100">
                  <c:v>-186.52999999999997</c:v>
                </c:pt>
                <c:pt idx="101">
                  <c:v>-181.52999999999997</c:v>
                </c:pt>
                <c:pt idx="102">
                  <c:v>-180.98000000000002</c:v>
                </c:pt>
                <c:pt idx="103">
                  <c:v>-175.98000000000002</c:v>
                </c:pt>
                <c:pt idx="104">
                  <c:v>-170.98000000000002</c:v>
                </c:pt>
                <c:pt idx="105">
                  <c:v>-165.98000000000002</c:v>
                </c:pt>
                <c:pt idx="106">
                  <c:v>-160.98000000000002</c:v>
                </c:pt>
                <c:pt idx="107">
                  <c:v>-160.94</c:v>
                </c:pt>
                <c:pt idx="108">
                  <c:v>-155.98000000000002</c:v>
                </c:pt>
                <c:pt idx="109">
                  <c:v>-150.98000000000002</c:v>
                </c:pt>
                <c:pt idx="110">
                  <c:v>-147.14999999999998</c:v>
                </c:pt>
                <c:pt idx="111">
                  <c:v>-142.14999999999998</c:v>
                </c:pt>
                <c:pt idx="112">
                  <c:v>-137.14999999999998</c:v>
                </c:pt>
                <c:pt idx="113">
                  <c:v>-132.14999999999998</c:v>
                </c:pt>
                <c:pt idx="114">
                  <c:v>-130.51</c:v>
                </c:pt>
                <c:pt idx="115">
                  <c:v>-125.50999999999999</c:v>
                </c:pt>
                <c:pt idx="116">
                  <c:v>-120.50999999999999</c:v>
                </c:pt>
                <c:pt idx="117">
                  <c:v>-117.87</c:v>
                </c:pt>
                <c:pt idx="118">
                  <c:v>-117.80000000000001</c:v>
                </c:pt>
                <c:pt idx="119">
                  <c:v>-112.80000000000001</c:v>
                </c:pt>
                <c:pt idx="120">
                  <c:v>-112.07999999999998</c:v>
                </c:pt>
                <c:pt idx="121">
                  <c:v>-107.07999999999998</c:v>
                </c:pt>
                <c:pt idx="122">
                  <c:v>-102.07999999999998</c:v>
                </c:pt>
                <c:pt idx="123">
                  <c:v>-97.079999999999984</c:v>
                </c:pt>
                <c:pt idx="124">
                  <c:v>-92.079999999999984</c:v>
                </c:pt>
                <c:pt idx="125">
                  <c:v>-92.04000000000002</c:v>
                </c:pt>
                <c:pt idx="126">
                  <c:v>-87.079999999999984</c:v>
                </c:pt>
                <c:pt idx="127">
                  <c:v>-82.079999999999984</c:v>
                </c:pt>
                <c:pt idx="128">
                  <c:v>-81.949999999999989</c:v>
                </c:pt>
                <c:pt idx="129">
                  <c:v>-76.949999999999989</c:v>
                </c:pt>
                <c:pt idx="130">
                  <c:v>-76.759999999999991</c:v>
                </c:pt>
                <c:pt idx="131">
                  <c:v>-71.759999999999991</c:v>
                </c:pt>
                <c:pt idx="132">
                  <c:v>-66.759999999999991</c:v>
                </c:pt>
                <c:pt idx="133">
                  <c:v>-61.759999999999991</c:v>
                </c:pt>
                <c:pt idx="134">
                  <c:v>-56.759999999999991</c:v>
                </c:pt>
                <c:pt idx="135">
                  <c:v>-56.720000000000027</c:v>
                </c:pt>
                <c:pt idx="136">
                  <c:v>-51.759999999999991</c:v>
                </c:pt>
                <c:pt idx="137">
                  <c:v>-46.759999999999991</c:v>
                </c:pt>
                <c:pt idx="138">
                  <c:v>-46.720000000000027</c:v>
                </c:pt>
                <c:pt idx="139">
                  <c:v>-41.720000000000027</c:v>
                </c:pt>
                <c:pt idx="140">
                  <c:v>-40.279999999999973</c:v>
                </c:pt>
                <c:pt idx="141">
                  <c:v>-35.279999999999973</c:v>
                </c:pt>
                <c:pt idx="142">
                  <c:v>-30.279999999999973</c:v>
                </c:pt>
                <c:pt idx="143">
                  <c:v>-25.279999999999973</c:v>
                </c:pt>
                <c:pt idx="144">
                  <c:v>-20.279999999999973</c:v>
                </c:pt>
                <c:pt idx="145">
                  <c:v>-20.240000000000009</c:v>
                </c:pt>
                <c:pt idx="146">
                  <c:v>-15.279999999999973</c:v>
                </c:pt>
                <c:pt idx="147">
                  <c:v>-10.279999999999973</c:v>
                </c:pt>
                <c:pt idx="148">
                  <c:v>-10.190000000000055</c:v>
                </c:pt>
                <c:pt idx="149">
                  <c:v>-5.1900000000000546</c:v>
                </c:pt>
                <c:pt idx="150">
                  <c:v>-4.7200000000000273</c:v>
                </c:pt>
                <c:pt idx="151">
                  <c:v>0.27999999999997272</c:v>
                </c:pt>
                <c:pt idx="152">
                  <c:v>5.2799999999999727</c:v>
                </c:pt>
                <c:pt idx="153">
                  <c:v>10.279999999999973</c:v>
                </c:pt>
                <c:pt idx="154">
                  <c:v>15.279999999999973</c:v>
                </c:pt>
                <c:pt idx="155">
                  <c:v>15.32000000000005</c:v>
                </c:pt>
                <c:pt idx="156">
                  <c:v>20.279999999999973</c:v>
                </c:pt>
                <c:pt idx="157">
                  <c:v>25.279999999999973</c:v>
                </c:pt>
                <c:pt idx="158">
                  <c:v>30.279999999999973</c:v>
                </c:pt>
                <c:pt idx="159">
                  <c:v>32.970000000000027</c:v>
                </c:pt>
                <c:pt idx="160">
                  <c:v>37.970000000000027</c:v>
                </c:pt>
                <c:pt idx="161">
                  <c:v>42.970000000000027</c:v>
                </c:pt>
                <c:pt idx="162">
                  <c:v>47.970000000000027</c:v>
                </c:pt>
                <c:pt idx="163">
                  <c:v>52.970000000000027</c:v>
                </c:pt>
                <c:pt idx="164">
                  <c:v>54.730000000000018</c:v>
                </c:pt>
                <c:pt idx="165">
                  <c:v>59.730000000000018</c:v>
                </c:pt>
                <c:pt idx="166">
                  <c:v>64.470000000000027</c:v>
                </c:pt>
                <c:pt idx="167">
                  <c:v>69.470000000000027</c:v>
                </c:pt>
                <c:pt idx="168">
                  <c:v>74.470000000000027</c:v>
                </c:pt>
                <c:pt idx="169">
                  <c:v>79.470000000000027</c:v>
                </c:pt>
                <c:pt idx="170">
                  <c:v>79.730000000000018</c:v>
                </c:pt>
                <c:pt idx="171">
                  <c:v>84.730000000000018</c:v>
                </c:pt>
                <c:pt idx="172">
                  <c:v>86.710000000000036</c:v>
                </c:pt>
                <c:pt idx="173">
                  <c:v>91.710000000000036</c:v>
                </c:pt>
                <c:pt idx="174">
                  <c:v>96.710000000000036</c:v>
                </c:pt>
                <c:pt idx="175">
                  <c:v>98.990000000000009</c:v>
                </c:pt>
                <c:pt idx="176">
                  <c:v>103.99000000000001</c:v>
                </c:pt>
                <c:pt idx="177">
                  <c:v>105.11000000000001</c:v>
                </c:pt>
                <c:pt idx="178">
                  <c:v>110.11000000000001</c:v>
                </c:pt>
                <c:pt idx="179">
                  <c:v>113.02999999999997</c:v>
                </c:pt>
                <c:pt idx="180">
                  <c:v>116.52999999999997</c:v>
                </c:pt>
                <c:pt idx="181">
                  <c:v>121.52999999999997</c:v>
                </c:pt>
                <c:pt idx="182">
                  <c:v>122.59000000000003</c:v>
                </c:pt>
                <c:pt idx="183">
                  <c:v>125.99000000000001</c:v>
                </c:pt>
                <c:pt idx="184">
                  <c:v>129.52999999999997</c:v>
                </c:pt>
                <c:pt idx="185">
                  <c:v>133.23000000000002</c:v>
                </c:pt>
                <c:pt idx="186">
                  <c:v>135.37</c:v>
                </c:pt>
                <c:pt idx="187">
                  <c:v>138.25</c:v>
                </c:pt>
                <c:pt idx="188">
                  <c:v>140.01</c:v>
                </c:pt>
                <c:pt idx="189">
                  <c:v>142.33000000000004</c:v>
                </c:pt>
                <c:pt idx="190">
                  <c:v>143.76999999999998</c:v>
                </c:pt>
                <c:pt idx="191">
                  <c:v>145.02999999999997</c:v>
                </c:pt>
                <c:pt idx="192">
                  <c:v>146.71000000000004</c:v>
                </c:pt>
                <c:pt idx="193">
                  <c:v>147.73000000000002</c:v>
                </c:pt>
                <c:pt idx="194">
                  <c:v>149.02999999999997</c:v>
                </c:pt>
                <c:pt idx="195">
                  <c:v>149.99</c:v>
                </c:pt>
                <c:pt idx="196">
                  <c:v>151.16999999999996</c:v>
                </c:pt>
                <c:pt idx="197">
                  <c:v>151.97000000000003</c:v>
                </c:pt>
                <c:pt idx="198">
                  <c:v>153.01</c:v>
                </c:pt>
                <c:pt idx="199">
                  <c:v>153.64999999999998</c:v>
                </c:pt>
                <c:pt idx="200">
                  <c:v>154.21000000000004</c:v>
                </c:pt>
                <c:pt idx="201">
                  <c:v>154.76999999999998</c:v>
                </c:pt>
                <c:pt idx="202">
                  <c:v>155.45000000000005</c:v>
                </c:pt>
                <c:pt idx="203">
                  <c:v>155.90999999999997</c:v>
                </c:pt>
                <c:pt idx="204">
                  <c:v>156.30999999999995</c:v>
                </c:pt>
                <c:pt idx="205">
                  <c:v>156.69000000000005</c:v>
                </c:pt>
                <c:pt idx="206">
                  <c:v>157.21000000000004</c:v>
                </c:pt>
                <c:pt idx="207">
                  <c:v>157.52999999999997</c:v>
                </c:pt>
                <c:pt idx="208">
                  <c:v>157.83000000000004</c:v>
                </c:pt>
                <c:pt idx="209">
                  <c:v>158.23000000000002</c:v>
                </c:pt>
                <c:pt idx="210">
                  <c:v>158.49</c:v>
                </c:pt>
                <c:pt idx="211">
                  <c:v>158.83000000000004</c:v>
                </c:pt>
                <c:pt idx="212">
                  <c:v>159.04999999999995</c:v>
                </c:pt>
                <c:pt idx="213">
                  <c:v>159.25</c:v>
                </c:pt>
                <c:pt idx="214">
                  <c:v>159.45000000000005</c:v>
                </c:pt>
                <c:pt idx="215">
                  <c:v>159.71000000000004</c:v>
                </c:pt>
                <c:pt idx="216">
                  <c:v>159.87</c:v>
                </c:pt>
                <c:pt idx="217">
                  <c:v>160.02999999999997</c:v>
                </c:pt>
                <c:pt idx="218">
                  <c:v>160.16999999999996</c:v>
                </c:pt>
                <c:pt idx="219">
                  <c:v>160.26999999999998</c:v>
                </c:pt>
                <c:pt idx="220">
                  <c:v>160.37</c:v>
                </c:pt>
                <c:pt idx="221">
                  <c:v>160.38999999999999</c:v>
                </c:pt>
                <c:pt idx="222">
                  <c:v>160.40999999999997</c:v>
                </c:pt>
                <c:pt idx="223">
                  <c:v>160.42999999999995</c:v>
                </c:pt>
                <c:pt idx="224">
                  <c:v>160.45000000000005</c:v>
                </c:pt>
                <c:pt idx="225">
                  <c:v>160.47000000000003</c:v>
                </c:pt>
                <c:pt idx="226">
                  <c:v>160.49</c:v>
                </c:pt>
                <c:pt idx="227">
                  <c:v>160.51</c:v>
                </c:pt>
                <c:pt idx="228">
                  <c:v>160.52999999999997</c:v>
                </c:pt>
                <c:pt idx="229">
                  <c:v>160.54999999999995</c:v>
                </c:pt>
                <c:pt idx="230">
                  <c:v>160.57000000000005</c:v>
                </c:pt>
                <c:pt idx="231">
                  <c:v>160.59000000000003</c:v>
                </c:pt>
                <c:pt idx="232">
                  <c:v>160.61000000000001</c:v>
                </c:pt>
                <c:pt idx="233">
                  <c:v>160.63</c:v>
                </c:pt>
                <c:pt idx="234">
                  <c:v>160.69000000000005</c:v>
                </c:pt>
                <c:pt idx="235">
                  <c:v>160.72000000000003</c:v>
                </c:pt>
                <c:pt idx="236">
                  <c:v>165.72000000000003</c:v>
                </c:pt>
                <c:pt idx="237">
                  <c:v>170.72000000000003</c:v>
                </c:pt>
                <c:pt idx="238">
                  <c:v>175.72000000000003</c:v>
                </c:pt>
                <c:pt idx="239">
                  <c:v>180.72000000000003</c:v>
                </c:pt>
                <c:pt idx="240">
                  <c:v>185.64</c:v>
                </c:pt>
                <c:pt idx="241">
                  <c:v>190.64</c:v>
                </c:pt>
                <c:pt idx="242">
                  <c:v>195.64</c:v>
                </c:pt>
                <c:pt idx="243">
                  <c:v>200.64</c:v>
                </c:pt>
                <c:pt idx="244">
                  <c:v>205.64</c:v>
                </c:pt>
                <c:pt idx="245">
                  <c:v>205.67999999999995</c:v>
                </c:pt>
                <c:pt idx="246">
                  <c:v>210.64</c:v>
                </c:pt>
                <c:pt idx="247">
                  <c:v>215.64</c:v>
                </c:pt>
                <c:pt idx="248">
                  <c:v>215.83000000000004</c:v>
                </c:pt>
              </c:numCache>
            </c:numRef>
          </c:xVal>
          <c:yVal>
            <c:numRef>
              <c:f>Data!$Q$9:$Q$337</c:f>
              <c:numCache>
                <c:formatCode>General</c:formatCode>
                <c:ptCount val="329"/>
                <c:pt idx="0">
                  <c:v>27.37</c:v>
                </c:pt>
                <c:pt idx="1">
                  <c:v>27.37</c:v>
                </c:pt>
                <c:pt idx="2">
                  <c:v>29.97</c:v>
                </c:pt>
                <c:pt idx="3">
                  <c:v>30.1</c:v>
                </c:pt>
                <c:pt idx="4">
                  <c:v>30.22</c:v>
                </c:pt>
                <c:pt idx="5">
                  <c:v>30.28</c:v>
                </c:pt>
                <c:pt idx="6">
                  <c:v>30.28</c:v>
                </c:pt>
                <c:pt idx="7">
                  <c:v>30.47</c:v>
                </c:pt>
                <c:pt idx="8">
                  <c:v>30.49</c:v>
                </c:pt>
                <c:pt idx="9">
                  <c:v>30.63</c:v>
                </c:pt>
                <c:pt idx="10">
                  <c:v>30.63</c:v>
                </c:pt>
                <c:pt idx="11">
                  <c:v>39.79</c:v>
                </c:pt>
                <c:pt idx="12">
                  <c:v>40</c:v>
                </c:pt>
                <c:pt idx="13">
                  <c:v>40.03</c:v>
                </c:pt>
                <c:pt idx="14">
                  <c:v>39.880000000000003</c:v>
                </c:pt>
                <c:pt idx="15">
                  <c:v>39.909999999999997</c:v>
                </c:pt>
                <c:pt idx="16">
                  <c:v>39.93</c:v>
                </c:pt>
                <c:pt idx="17">
                  <c:v>39.93</c:v>
                </c:pt>
                <c:pt idx="18">
                  <c:v>39.83</c:v>
                </c:pt>
                <c:pt idx="19">
                  <c:v>39.96</c:v>
                </c:pt>
                <c:pt idx="20">
                  <c:v>39.950000000000003</c:v>
                </c:pt>
                <c:pt idx="21">
                  <c:v>49.79</c:v>
                </c:pt>
                <c:pt idx="22">
                  <c:v>50.01</c:v>
                </c:pt>
                <c:pt idx="23">
                  <c:v>49.8</c:v>
                </c:pt>
                <c:pt idx="24">
                  <c:v>49.9</c:v>
                </c:pt>
                <c:pt idx="25">
                  <c:v>49.81</c:v>
                </c:pt>
                <c:pt idx="26">
                  <c:v>49.94</c:v>
                </c:pt>
                <c:pt idx="27">
                  <c:v>49.94</c:v>
                </c:pt>
                <c:pt idx="28">
                  <c:v>49.95</c:v>
                </c:pt>
                <c:pt idx="29">
                  <c:v>50.11</c:v>
                </c:pt>
                <c:pt idx="30">
                  <c:v>50.11</c:v>
                </c:pt>
                <c:pt idx="31">
                  <c:v>59.8</c:v>
                </c:pt>
                <c:pt idx="32">
                  <c:v>60.01</c:v>
                </c:pt>
                <c:pt idx="33">
                  <c:v>59.9</c:v>
                </c:pt>
                <c:pt idx="34">
                  <c:v>59.56</c:v>
                </c:pt>
                <c:pt idx="35">
                  <c:v>59.47</c:v>
                </c:pt>
                <c:pt idx="36">
                  <c:v>59.32</c:v>
                </c:pt>
                <c:pt idx="37">
                  <c:v>59.32</c:v>
                </c:pt>
                <c:pt idx="38">
                  <c:v>59.11</c:v>
                </c:pt>
                <c:pt idx="39">
                  <c:v>69.680000000000007</c:v>
                </c:pt>
                <c:pt idx="40">
                  <c:v>70</c:v>
                </c:pt>
                <c:pt idx="41">
                  <c:v>69.77</c:v>
                </c:pt>
                <c:pt idx="42">
                  <c:v>69.67</c:v>
                </c:pt>
                <c:pt idx="43">
                  <c:v>69.489999999999995</c:v>
                </c:pt>
                <c:pt idx="44">
                  <c:v>69.37</c:v>
                </c:pt>
                <c:pt idx="45">
                  <c:v>69.37</c:v>
                </c:pt>
                <c:pt idx="46">
                  <c:v>69.27</c:v>
                </c:pt>
                <c:pt idx="47">
                  <c:v>69.209999999999994</c:v>
                </c:pt>
                <c:pt idx="48">
                  <c:v>69.209999999999994</c:v>
                </c:pt>
                <c:pt idx="49">
                  <c:v>79.72</c:v>
                </c:pt>
                <c:pt idx="50">
                  <c:v>80.03</c:v>
                </c:pt>
                <c:pt idx="51">
                  <c:v>79.87</c:v>
                </c:pt>
                <c:pt idx="52">
                  <c:v>79.77</c:v>
                </c:pt>
                <c:pt idx="53">
                  <c:v>79.91</c:v>
                </c:pt>
                <c:pt idx="54">
                  <c:v>79.98</c:v>
                </c:pt>
                <c:pt idx="55">
                  <c:v>79.98</c:v>
                </c:pt>
                <c:pt idx="56">
                  <c:v>80.12</c:v>
                </c:pt>
                <c:pt idx="57">
                  <c:v>80.25</c:v>
                </c:pt>
                <c:pt idx="58">
                  <c:v>80.23</c:v>
                </c:pt>
                <c:pt idx="59">
                  <c:v>80.319999999999993</c:v>
                </c:pt>
                <c:pt idx="60">
                  <c:v>80.31</c:v>
                </c:pt>
                <c:pt idx="61">
                  <c:v>89.91</c:v>
                </c:pt>
                <c:pt idx="62">
                  <c:v>90</c:v>
                </c:pt>
                <c:pt idx="63">
                  <c:v>89.47</c:v>
                </c:pt>
                <c:pt idx="64">
                  <c:v>89.38</c:v>
                </c:pt>
                <c:pt idx="65">
                  <c:v>89.21</c:v>
                </c:pt>
                <c:pt idx="66">
                  <c:v>89.05</c:v>
                </c:pt>
                <c:pt idx="67">
                  <c:v>89.05</c:v>
                </c:pt>
                <c:pt idx="68">
                  <c:v>88.99</c:v>
                </c:pt>
                <c:pt idx="69">
                  <c:v>89.01</c:v>
                </c:pt>
                <c:pt idx="70">
                  <c:v>89.01</c:v>
                </c:pt>
                <c:pt idx="71">
                  <c:v>99.67</c:v>
                </c:pt>
                <c:pt idx="72">
                  <c:v>100</c:v>
                </c:pt>
                <c:pt idx="73">
                  <c:v>99.72</c:v>
                </c:pt>
                <c:pt idx="74">
                  <c:v>99.61</c:v>
                </c:pt>
                <c:pt idx="75">
                  <c:v>99.66</c:v>
                </c:pt>
                <c:pt idx="76">
                  <c:v>99.58</c:v>
                </c:pt>
                <c:pt idx="77">
                  <c:v>99.58</c:v>
                </c:pt>
                <c:pt idx="78">
                  <c:v>99.7</c:v>
                </c:pt>
                <c:pt idx="79">
                  <c:v>99.78</c:v>
                </c:pt>
                <c:pt idx="80">
                  <c:v>99.58</c:v>
                </c:pt>
                <c:pt idx="81">
                  <c:v>109.86</c:v>
                </c:pt>
                <c:pt idx="82">
                  <c:v>110.01</c:v>
                </c:pt>
                <c:pt idx="83">
                  <c:v>109.59</c:v>
                </c:pt>
                <c:pt idx="84">
                  <c:v>109.6</c:v>
                </c:pt>
                <c:pt idx="85">
                  <c:v>109.6</c:v>
                </c:pt>
                <c:pt idx="86">
                  <c:v>109.68</c:v>
                </c:pt>
                <c:pt idx="87">
                  <c:v>109.68</c:v>
                </c:pt>
                <c:pt idx="88">
                  <c:v>109.7</c:v>
                </c:pt>
                <c:pt idx="89">
                  <c:v>109.56</c:v>
                </c:pt>
                <c:pt idx="90">
                  <c:v>109.59</c:v>
                </c:pt>
                <c:pt idx="91">
                  <c:v>119.81</c:v>
                </c:pt>
                <c:pt idx="92">
                  <c:v>120.02</c:v>
                </c:pt>
                <c:pt idx="93">
                  <c:v>119.82</c:v>
                </c:pt>
                <c:pt idx="94">
                  <c:v>119.8</c:v>
                </c:pt>
                <c:pt idx="95">
                  <c:v>119.66</c:v>
                </c:pt>
                <c:pt idx="96">
                  <c:v>119.73</c:v>
                </c:pt>
                <c:pt idx="97">
                  <c:v>119.73</c:v>
                </c:pt>
                <c:pt idx="98">
                  <c:v>119.82</c:v>
                </c:pt>
                <c:pt idx="99">
                  <c:v>119.81</c:v>
                </c:pt>
                <c:pt idx="100">
                  <c:v>119.81</c:v>
                </c:pt>
                <c:pt idx="101">
                  <c:v>129.88999999999999</c:v>
                </c:pt>
                <c:pt idx="102">
                  <c:v>130.01</c:v>
                </c:pt>
                <c:pt idx="103">
                  <c:v>129.79</c:v>
                </c:pt>
                <c:pt idx="104">
                  <c:v>129.87</c:v>
                </c:pt>
                <c:pt idx="105">
                  <c:v>129.84</c:v>
                </c:pt>
                <c:pt idx="106">
                  <c:v>130.03</c:v>
                </c:pt>
                <c:pt idx="107">
                  <c:v>130.03</c:v>
                </c:pt>
                <c:pt idx="108">
                  <c:v>130.19</c:v>
                </c:pt>
                <c:pt idx="109">
                  <c:v>130.44999999999999</c:v>
                </c:pt>
                <c:pt idx="110">
                  <c:v>130.66</c:v>
                </c:pt>
                <c:pt idx="111">
                  <c:v>130.71</c:v>
                </c:pt>
                <c:pt idx="112">
                  <c:v>130.97999999999999</c:v>
                </c:pt>
                <c:pt idx="113">
                  <c:v>131.18</c:v>
                </c:pt>
                <c:pt idx="114">
                  <c:v>131.27000000000001</c:v>
                </c:pt>
                <c:pt idx="115">
                  <c:v>131.16999999999999</c:v>
                </c:pt>
                <c:pt idx="116">
                  <c:v>131.38</c:v>
                </c:pt>
                <c:pt idx="117">
                  <c:v>131.31</c:v>
                </c:pt>
                <c:pt idx="118">
                  <c:v>131.31</c:v>
                </c:pt>
                <c:pt idx="119">
                  <c:v>141.19999999999999</c:v>
                </c:pt>
                <c:pt idx="120">
                  <c:v>141.31</c:v>
                </c:pt>
                <c:pt idx="121">
                  <c:v>141.13</c:v>
                </c:pt>
                <c:pt idx="122">
                  <c:v>141.07</c:v>
                </c:pt>
                <c:pt idx="123">
                  <c:v>141.24</c:v>
                </c:pt>
                <c:pt idx="124">
                  <c:v>141.37</c:v>
                </c:pt>
                <c:pt idx="125">
                  <c:v>141.37</c:v>
                </c:pt>
                <c:pt idx="126">
                  <c:v>141.25</c:v>
                </c:pt>
                <c:pt idx="127">
                  <c:v>141.38</c:v>
                </c:pt>
                <c:pt idx="128">
                  <c:v>141.36000000000001</c:v>
                </c:pt>
                <c:pt idx="129">
                  <c:v>151.27000000000001</c:v>
                </c:pt>
                <c:pt idx="130">
                  <c:v>151.31</c:v>
                </c:pt>
                <c:pt idx="131">
                  <c:v>150.88</c:v>
                </c:pt>
                <c:pt idx="132">
                  <c:v>150.88999999999999</c:v>
                </c:pt>
                <c:pt idx="133">
                  <c:v>151.07</c:v>
                </c:pt>
                <c:pt idx="134">
                  <c:v>151.12</c:v>
                </c:pt>
                <c:pt idx="135">
                  <c:v>151.13</c:v>
                </c:pt>
                <c:pt idx="136">
                  <c:v>151.11000000000001</c:v>
                </c:pt>
                <c:pt idx="137">
                  <c:v>151.26</c:v>
                </c:pt>
                <c:pt idx="138">
                  <c:v>151.25</c:v>
                </c:pt>
                <c:pt idx="139">
                  <c:v>161.21</c:v>
                </c:pt>
                <c:pt idx="140">
                  <c:v>161.31</c:v>
                </c:pt>
                <c:pt idx="141">
                  <c:v>161.26</c:v>
                </c:pt>
                <c:pt idx="142">
                  <c:v>161.25</c:v>
                </c:pt>
                <c:pt idx="143">
                  <c:v>161.43</c:v>
                </c:pt>
                <c:pt idx="144">
                  <c:v>161.58000000000001</c:v>
                </c:pt>
                <c:pt idx="145">
                  <c:v>161.58000000000001</c:v>
                </c:pt>
                <c:pt idx="146">
                  <c:v>161.56</c:v>
                </c:pt>
                <c:pt idx="147">
                  <c:v>161.74</c:v>
                </c:pt>
                <c:pt idx="148">
                  <c:v>161.75</c:v>
                </c:pt>
                <c:pt idx="149">
                  <c:v>171.27</c:v>
                </c:pt>
                <c:pt idx="150">
                  <c:v>171.31</c:v>
                </c:pt>
                <c:pt idx="151">
                  <c:v>171</c:v>
                </c:pt>
                <c:pt idx="152">
                  <c:v>171.32</c:v>
                </c:pt>
                <c:pt idx="153">
                  <c:v>171.33</c:v>
                </c:pt>
                <c:pt idx="154">
                  <c:v>171.56</c:v>
                </c:pt>
                <c:pt idx="155">
                  <c:v>171.56</c:v>
                </c:pt>
                <c:pt idx="156">
                  <c:v>171.78</c:v>
                </c:pt>
                <c:pt idx="157">
                  <c:v>171.93</c:v>
                </c:pt>
                <c:pt idx="158">
                  <c:v>171.99</c:v>
                </c:pt>
                <c:pt idx="159">
                  <c:v>172.17</c:v>
                </c:pt>
                <c:pt idx="160">
                  <c:v>172.17</c:v>
                </c:pt>
                <c:pt idx="161">
                  <c:v>172.42</c:v>
                </c:pt>
                <c:pt idx="162">
                  <c:v>172.7</c:v>
                </c:pt>
                <c:pt idx="163">
                  <c:v>172.72</c:v>
                </c:pt>
                <c:pt idx="164">
                  <c:v>172.77</c:v>
                </c:pt>
                <c:pt idx="165">
                  <c:v>173.06</c:v>
                </c:pt>
                <c:pt idx="166">
                  <c:v>173.18</c:v>
                </c:pt>
                <c:pt idx="167">
                  <c:v>173.44</c:v>
                </c:pt>
                <c:pt idx="168">
                  <c:v>173.71</c:v>
                </c:pt>
                <c:pt idx="169">
                  <c:v>173.77</c:v>
                </c:pt>
                <c:pt idx="170">
                  <c:v>173.78</c:v>
                </c:pt>
                <c:pt idx="171">
                  <c:v>174.08</c:v>
                </c:pt>
                <c:pt idx="172">
                  <c:v>174.21</c:v>
                </c:pt>
                <c:pt idx="173">
                  <c:v>174.55</c:v>
                </c:pt>
                <c:pt idx="174">
                  <c:v>174.66</c:v>
                </c:pt>
                <c:pt idx="175">
                  <c:v>174.82</c:v>
                </c:pt>
                <c:pt idx="176">
                  <c:v>175.19</c:v>
                </c:pt>
                <c:pt idx="177">
                  <c:v>175.22</c:v>
                </c:pt>
                <c:pt idx="178">
                  <c:v>175.65</c:v>
                </c:pt>
                <c:pt idx="179">
                  <c:v>175.82</c:v>
                </c:pt>
                <c:pt idx="180">
                  <c:v>176.22</c:v>
                </c:pt>
                <c:pt idx="181">
                  <c:v>176.65</c:v>
                </c:pt>
                <c:pt idx="182">
                  <c:v>176.83</c:v>
                </c:pt>
                <c:pt idx="183">
                  <c:v>177.23</c:v>
                </c:pt>
                <c:pt idx="184">
                  <c:v>177.67</c:v>
                </c:pt>
                <c:pt idx="185">
                  <c:v>178.28</c:v>
                </c:pt>
                <c:pt idx="186">
                  <c:v>178.7</c:v>
                </c:pt>
                <c:pt idx="187">
                  <c:v>179.32</c:v>
                </c:pt>
                <c:pt idx="188">
                  <c:v>179.75</c:v>
                </c:pt>
                <c:pt idx="189">
                  <c:v>180.36</c:v>
                </c:pt>
                <c:pt idx="190">
                  <c:v>180.78</c:v>
                </c:pt>
                <c:pt idx="191">
                  <c:v>181.18</c:v>
                </c:pt>
                <c:pt idx="192">
                  <c:v>181.8</c:v>
                </c:pt>
                <c:pt idx="193">
                  <c:v>182.23</c:v>
                </c:pt>
                <c:pt idx="194">
                  <c:v>182.84</c:v>
                </c:pt>
                <c:pt idx="195">
                  <c:v>183.24</c:v>
                </c:pt>
                <c:pt idx="196">
                  <c:v>183.84</c:v>
                </c:pt>
                <c:pt idx="197">
                  <c:v>184.24</c:v>
                </c:pt>
                <c:pt idx="198">
                  <c:v>184.87</c:v>
                </c:pt>
                <c:pt idx="199">
                  <c:v>185.28</c:v>
                </c:pt>
                <c:pt idx="200">
                  <c:v>185.71</c:v>
                </c:pt>
                <c:pt idx="201">
                  <c:v>186.18</c:v>
                </c:pt>
                <c:pt idx="202">
                  <c:v>186.84</c:v>
                </c:pt>
                <c:pt idx="203">
                  <c:v>187.28</c:v>
                </c:pt>
                <c:pt idx="204">
                  <c:v>187.73</c:v>
                </c:pt>
                <c:pt idx="205">
                  <c:v>188.17</c:v>
                </c:pt>
                <c:pt idx="206">
                  <c:v>188.82</c:v>
                </c:pt>
                <c:pt idx="207">
                  <c:v>189.25</c:v>
                </c:pt>
                <c:pt idx="208">
                  <c:v>189.68</c:v>
                </c:pt>
                <c:pt idx="209">
                  <c:v>190.3</c:v>
                </c:pt>
                <c:pt idx="210">
                  <c:v>190.73</c:v>
                </c:pt>
                <c:pt idx="211">
                  <c:v>191.34</c:v>
                </c:pt>
                <c:pt idx="212">
                  <c:v>191.79</c:v>
                </c:pt>
                <c:pt idx="213">
                  <c:v>192.21</c:v>
                </c:pt>
                <c:pt idx="214">
                  <c:v>192.67</c:v>
                </c:pt>
                <c:pt idx="215">
                  <c:v>193.34</c:v>
                </c:pt>
                <c:pt idx="216">
                  <c:v>193.79</c:v>
                </c:pt>
                <c:pt idx="217">
                  <c:v>194.29</c:v>
                </c:pt>
                <c:pt idx="218">
                  <c:v>194.77</c:v>
                </c:pt>
                <c:pt idx="219">
                  <c:v>195.37</c:v>
                </c:pt>
                <c:pt idx="220">
                  <c:v>286.95</c:v>
                </c:pt>
                <c:pt idx="221">
                  <c:v>292.04000000000002</c:v>
                </c:pt>
                <c:pt idx="222">
                  <c:v>296.48</c:v>
                </c:pt>
                <c:pt idx="223">
                  <c:v>301.8</c:v>
                </c:pt>
                <c:pt idx="224">
                  <c:v>306.55</c:v>
                </c:pt>
                <c:pt idx="225">
                  <c:v>310.36</c:v>
                </c:pt>
                <c:pt idx="226">
                  <c:v>313.45999999999998</c:v>
                </c:pt>
                <c:pt idx="227">
                  <c:v>315.95</c:v>
                </c:pt>
                <c:pt idx="228">
                  <c:v>317.91000000000003</c:v>
                </c:pt>
                <c:pt idx="229">
                  <c:v>319.45</c:v>
                </c:pt>
                <c:pt idx="230">
                  <c:v>320.62</c:v>
                </c:pt>
                <c:pt idx="231">
                  <c:v>321.48</c:v>
                </c:pt>
                <c:pt idx="232">
                  <c:v>322.05</c:v>
                </c:pt>
                <c:pt idx="233">
                  <c:v>322.36</c:v>
                </c:pt>
                <c:pt idx="234">
                  <c:v>322.14999999999998</c:v>
                </c:pt>
                <c:pt idx="235">
                  <c:v>321.77999999999997</c:v>
                </c:pt>
                <c:pt idx="236">
                  <c:v>257.27</c:v>
                </c:pt>
                <c:pt idx="237">
                  <c:v>279.07</c:v>
                </c:pt>
                <c:pt idx="238">
                  <c:v>300.93</c:v>
                </c:pt>
                <c:pt idx="239">
                  <c:v>323.24</c:v>
                </c:pt>
                <c:pt idx="240">
                  <c:v>332.17</c:v>
                </c:pt>
                <c:pt idx="241">
                  <c:v>332.15</c:v>
                </c:pt>
                <c:pt idx="242">
                  <c:v>332.31</c:v>
                </c:pt>
                <c:pt idx="243">
                  <c:v>332.22</c:v>
                </c:pt>
                <c:pt idx="244">
                  <c:v>332.28</c:v>
                </c:pt>
                <c:pt idx="245">
                  <c:v>332.28</c:v>
                </c:pt>
                <c:pt idx="246">
                  <c:v>332.23</c:v>
                </c:pt>
                <c:pt idx="247">
                  <c:v>332.29</c:v>
                </c:pt>
                <c:pt idx="248">
                  <c:v>332.25</c:v>
                </c:pt>
              </c:numCache>
            </c:numRef>
          </c:yVal>
          <c:smooth val="0"/>
          <c:extLst>
            <c:ext xmlns:c16="http://schemas.microsoft.com/office/drawing/2014/chart" uri="{C3380CC4-5D6E-409C-BE32-E72D297353CC}">
              <c16:uniqueId val="{00000003-ED69-4A8E-A206-AA40F443BECF}"/>
            </c:ext>
          </c:extLst>
        </c:ser>
        <c:ser>
          <c:idx val="8"/>
          <c:order val="8"/>
          <c:tx>
            <c:strRef>
              <c:f>Data!$W$6</c:f>
              <c:strCache>
                <c:ptCount val="1"/>
                <c:pt idx="0">
                  <c:v>Chloride Contaminated</c:v>
                </c:pt>
              </c:strCache>
            </c:strRef>
          </c:tx>
          <c:spPr>
            <a:ln w="50800">
              <a:solidFill>
                <a:srgbClr val="FF0000"/>
              </a:solidFill>
              <a:prstDash val="solid"/>
            </a:ln>
          </c:spPr>
          <c:marker>
            <c:symbol val="none"/>
          </c:marker>
          <c:xVal>
            <c:numRef>
              <c:f>Data!$X$9:$X$510</c:f>
              <c:numCache>
                <c:formatCode>General</c:formatCode>
                <c:ptCount val="502"/>
                <c:pt idx="0">
                  <c:v>-748</c:v>
                </c:pt>
                <c:pt idx="1">
                  <c:v>-747.96</c:v>
                </c:pt>
                <c:pt idx="2">
                  <c:v>-743</c:v>
                </c:pt>
                <c:pt idx="3">
                  <c:v>-738</c:v>
                </c:pt>
                <c:pt idx="4">
                  <c:v>-733</c:v>
                </c:pt>
                <c:pt idx="5">
                  <c:v>-728</c:v>
                </c:pt>
                <c:pt idx="6">
                  <c:v>-723</c:v>
                </c:pt>
                <c:pt idx="7">
                  <c:v>-718</c:v>
                </c:pt>
                <c:pt idx="8">
                  <c:v>-713</c:v>
                </c:pt>
                <c:pt idx="9">
                  <c:v>-708</c:v>
                </c:pt>
                <c:pt idx="10">
                  <c:v>-693.6</c:v>
                </c:pt>
                <c:pt idx="11">
                  <c:v>-688.6</c:v>
                </c:pt>
                <c:pt idx="12">
                  <c:v>-688</c:v>
                </c:pt>
                <c:pt idx="13">
                  <c:v>-683</c:v>
                </c:pt>
                <c:pt idx="14">
                  <c:v>-678</c:v>
                </c:pt>
                <c:pt idx="15">
                  <c:v>-677.81</c:v>
                </c:pt>
                <c:pt idx="16">
                  <c:v>-672.81</c:v>
                </c:pt>
                <c:pt idx="17">
                  <c:v>-671.8</c:v>
                </c:pt>
                <c:pt idx="18">
                  <c:v>-666.8</c:v>
                </c:pt>
                <c:pt idx="19">
                  <c:v>-661.8</c:v>
                </c:pt>
                <c:pt idx="20">
                  <c:v>-656.8</c:v>
                </c:pt>
                <c:pt idx="21">
                  <c:v>-651.79999999999995</c:v>
                </c:pt>
                <c:pt idx="22">
                  <c:v>-646.79999999999995</c:v>
                </c:pt>
                <c:pt idx="23">
                  <c:v>-641.79999999999995</c:v>
                </c:pt>
                <c:pt idx="24">
                  <c:v>-636.79999999999995</c:v>
                </c:pt>
                <c:pt idx="25">
                  <c:v>-631.79999999999995</c:v>
                </c:pt>
                <c:pt idx="26">
                  <c:v>-626.79999999999995</c:v>
                </c:pt>
                <c:pt idx="27">
                  <c:v>-621.79999999999995</c:v>
                </c:pt>
                <c:pt idx="28">
                  <c:v>-616.79999999999995</c:v>
                </c:pt>
                <c:pt idx="29">
                  <c:v>-611.79999999999995</c:v>
                </c:pt>
                <c:pt idx="30">
                  <c:v>-611.76</c:v>
                </c:pt>
                <c:pt idx="31">
                  <c:v>-606.79999999999995</c:v>
                </c:pt>
                <c:pt idx="32">
                  <c:v>-601.79999999999995</c:v>
                </c:pt>
                <c:pt idx="33">
                  <c:v>-601.61</c:v>
                </c:pt>
                <c:pt idx="34">
                  <c:v>-596.61</c:v>
                </c:pt>
                <c:pt idx="35">
                  <c:v>-595.29999999999995</c:v>
                </c:pt>
                <c:pt idx="36">
                  <c:v>-590.29999999999995</c:v>
                </c:pt>
                <c:pt idx="37">
                  <c:v>-585.29999999999995</c:v>
                </c:pt>
                <c:pt idx="38">
                  <c:v>-580.29999999999995</c:v>
                </c:pt>
                <c:pt idx="39">
                  <c:v>-575.29999999999995</c:v>
                </c:pt>
                <c:pt idx="40">
                  <c:v>-570.29999999999995</c:v>
                </c:pt>
                <c:pt idx="41">
                  <c:v>-565.29999999999995</c:v>
                </c:pt>
                <c:pt idx="42">
                  <c:v>-560.29999999999995</c:v>
                </c:pt>
                <c:pt idx="43">
                  <c:v>-555.29999999999995</c:v>
                </c:pt>
                <c:pt idx="44">
                  <c:v>-550.29999999999995</c:v>
                </c:pt>
                <c:pt idx="45">
                  <c:v>-545.29999999999995</c:v>
                </c:pt>
                <c:pt idx="46">
                  <c:v>-540.29999999999995</c:v>
                </c:pt>
                <c:pt idx="47">
                  <c:v>-535.29999999999995</c:v>
                </c:pt>
                <c:pt idx="48">
                  <c:v>-535.26</c:v>
                </c:pt>
                <c:pt idx="49">
                  <c:v>-530.29999999999995</c:v>
                </c:pt>
                <c:pt idx="50">
                  <c:v>-525.29999999999995</c:v>
                </c:pt>
                <c:pt idx="51">
                  <c:v>-525.13</c:v>
                </c:pt>
                <c:pt idx="52">
                  <c:v>-520.13</c:v>
                </c:pt>
                <c:pt idx="53">
                  <c:v>-518.9</c:v>
                </c:pt>
                <c:pt idx="54">
                  <c:v>-513.9</c:v>
                </c:pt>
                <c:pt idx="55">
                  <c:v>-508.9</c:v>
                </c:pt>
                <c:pt idx="56">
                  <c:v>-503.9</c:v>
                </c:pt>
                <c:pt idx="57">
                  <c:v>-498.9</c:v>
                </c:pt>
                <c:pt idx="58">
                  <c:v>-493.9</c:v>
                </c:pt>
                <c:pt idx="59">
                  <c:v>-488.9</c:v>
                </c:pt>
                <c:pt idx="60">
                  <c:v>-483.9</c:v>
                </c:pt>
                <c:pt idx="61">
                  <c:v>-478.9</c:v>
                </c:pt>
                <c:pt idx="62">
                  <c:v>-473.9</c:v>
                </c:pt>
                <c:pt idx="63">
                  <c:v>-468.9</c:v>
                </c:pt>
                <c:pt idx="64">
                  <c:v>-463.9</c:v>
                </c:pt>
                <c:pt idx="65">
                  <c:v>-458.9</c:v>
                </c:pt>
                <c:pt idx="66">
                  <c:v>-458.86</c:v>
                </c:pt>
                <c:pt idx="67">
                  <c:v>-453.9</c:v>
                </c:pt>
                <c:pt idx="68">
                  <c:v>-448.9</c:v>
                </c:pt>
                <c:pt idx="69">
                  <c:v>-448.83</c:v>
                </c:pt>
                <c:pt idx="70">
                  <c:v>-443.83</c:v>
                </c:pt>
                <c:pt idx="71">
                  <c:v>-442.22</c:v>
                </c:pt>
                <c:pt idx="72">
                  <c:v>-437.22</c:v>
                </c:pt>
                <c:pt idx="73">
                  <c:v>-432.22</c:v>
                </c:pt>
                <c:pt idx="74">
                  <c:v>-427.22</c:v>
                </c:pt>
                <c:pt idx="75">
                  <c:v>-422.22</c:v>
                </c:pt>
                <c:pt idx="76">
                  <c:v>-417.22</c:v>
                </c:pt>
                <c:pt idx="77">
                  <c:v>-412.22</c:v>
                </c:pt>
                <c:pt idx="78">
                  <c:v>-407.22</c:v>
                </c:pt>
                <c:pt idx="79">
                  <c:v>-402.22</c:v>
                </c:pt>
                <c:pt idx="80">
                  <c:v>-397.22</c:v>
                </c:pt>
                <c:pt idx="81">
                  <c:v>-392.22</c:v>
                </c:pt>
                <c:pt idx="82">
                  <c:v>-387.22</c:v>
                </c:pt>
                <c:pt idx="83">
                  <c:v>-382.22</c:v>
                </c:pt>
                <c:pt idx="84">
                  <c:v>-382.18</c:v>
                </c:pt>
                <c:pt idx="85">
                  <c:v>-377.22</c:v>
                </c:pt>
                <c:pt idx="86">
                  <c:v>-373.05</c:v>
                </c:pt>
                <c:pt idx="87">
                  <c:v>-368.05</c:v>
                </c:pt>
                <c:pt idx="88">
                  <c:v>-366.36</c:v>
                </c:pt>
                <c:pt idx="89">
                  <c:v>-361.36</c:v>
                </c:pt>
                <c:pt idx="90">
                  <c:v>-356.36</c:v>
                </c:pt>
                <c:pt idx="91">
                  <c:v>-351.36</c:v>
                </c:pt>
                <c:pt idx="92">
                  <c:v>-346.36</c:v>
                </c:pt>
                <c:pt idx="93">
                  <c:v>-341.36</c:v>
                </c:pt>
                <c:pt idx="94">
                  <c:v>-336.36</c:v>
                </c:pt>
                <c:pt idx="95">
                  <c:v>-331.36</c:v>
                </c:pt>
                <c:pt idx="96">
                  <c:v>-326.36</c:v>
                </c:pt>
                <c:pt idx="97">
                  <c:v>-321.36</c:v>
                </c:pt>
                <c:pt idx="98">
                  <c:v>-316.36</c:v>
                </c:pt>
                <c:pt idx="99">
                  <c:v>-311.36</c:v>
                </c:pt>
                <c:pt idx="100">
                  <c:v>-306.36</c:v>
                </c:pt>
                <c:pt idx="101">
                  <c:v>-306.32</c:v>
                </c:pt>
                <c:pt idx="102">
                  <c:v>-301.36</c:v>
                </c:pt>
                <c:pt idx="103">
                  <c:v>-296.36</c:v>
                </c:pt>
                <c:pt idx="104">
                  <c:v>-291.36</c:v>
                </c:pt>
                <c:pt idx="105">
                  <c:v>-287.75</c:v>
                </c:pt>
                <c:pt idx="106">
                  <c:v>-282.75</c:v>
                </c:pt>
                <c:pt idx="107">
                  <c:v>-277.75</c:v>
                </c:pt>
                <c:pt idx="108">
                  <c:v>-275.14999999999998</c:v>
                </c:pt>
                <c:pt idx="109">
                  <c:v>-275.08999999999997</c:v>
                </c:pt>
                <c:pt idx="110">
                  <c:v>-270.08999999999997</c:v>
                </c:pt>
                <c:pt idx="111">
                  <c:v>-268.7</c:v>
                </c:pt>
                <c:pt idx="112">
                  <c:v>-263.7</c:v>
                </c:pt>
                <c:pt idx="113">
                  <c:v>-258.7</c:v>
                </c:pt>
                <c:pt idx="114">
                  <c:v>-253.7</c:v>
                </c:pt>
                <c:pt idx="115">
                  <c:v>-248.7</c:v>
                </c:pt>
                <c:pt idx="116">
                  <c:v>-243.7</c:v>
                </c:pt>
                <c:pt idx="117">
                  <c:v>-238.7</c:v>
                </c:pt>
                <c:pt idx="118">
                  <c:v>-233.70000000000005</c:v>
                </c:pt>
                <c:pt idx="119">
                  <c:v>-228.70000000000005</c:v>
                </c:pt>
                <c:pt idx="120">
                  <c:v>-223.70000000000005</c:v>
                </c:pt>
                <c:pt idx="121">
                  <c:v>-218.70000000000005</c:v>
                </c:pt>
                <c:pt idx="122">
                  <c:v>-213.70000000000005</c:v>
                </c:pt>
                <c:pt idx="123">
                  <c:v>-208.70000000000005</c:v>
                </c:pt>
                <c:pt idx="124">
                  <c:v>-208.65999999999997</c:v>
                </c:pt>
                <c:pt idx="125">
                  <c:v>-203.70000000000005</c:v>
                </c:pt>
                <c:pt idx="126">
                  <c:v>-198.70000000000005</c:v>
                </c:pt>
                <c:pt idx="127">
                  <c:v>-193.70000000000005</c:v>
                </c:pt>
                <c:pt idx="128">
                  <c:v>-188.70000000000005</c:v>
                </c:pt>
                <c:pt idx="129">
                  <c:v>-185.49</c:v>
                </c:pt>
                <c:pt idx="130">
                  <c:v>-180.49</c:v>
                </c:pt>
                <c:pt idx="131">
                  <c:v>-175.49</c:v>
                </c:pt>
                <c:pt idx="132">
                  <c:v>-172.89</c:v>
                </c:pt>
                <c:pt idx="133">
                  <c:v>-172.83000000000004</c:v>
                </c:pt>
                <c:pt idx="134">
                  <c:v>-167.83000000000004</c:v>
                </c:pt>
                <c:pt idx="135">
                  <c:v>-165.98000000000002</c:v>
                </c:pt>
                <c:pt idx="136">
                  <c:v>-160.98000000000002</c:v>
                </c:pt>
                <c:pt idx="137">
                  <c:v>-155.98000000000002</c:v>
                </c:pt>
                <c:pt idx="138">
                  <c:v>-150.98000000000002</c:v>
                </c:pt>
                <c:pt idx="139">
                  <c:v>-145.98000000000002</c:v>
                </c:pt>
                <c:pt idx="140">
                  <c:v>-140.98000000000002</c:v>
                </c:pt>
                <c:pt idx="141">
                  <c:v>-135.98000000000002</c:v>
                </c:pt>
                <c:pt idx="142">
                  <c:v>-130.98000000000002</c:v>
                </c:pt>
                <c:pt idx="143">
                  <c:v>-125.98000000000002</c:v>
                </c:pt>
                <c:pt idx="144">
                  <c:v>-120.98000000000002</c:v>
                </c:pt>
                <c:pt idx="145">
                  <c:v>-115.98000000000002</c:v>
                </c:pt>
                <c:pt idx="146">
                  <c:v>-110.98000000000002</c:v>
                </c:pt>
                <c:pt idx="147">
                  <c:v>-105.98000000000002</c:v>
                </c:pt>
                <c:pt idx="148">
                  <c:v>-105.94000000000005</c:v>
                </c:pt>
                <c:pt idx="149">
                  <c:v>-100.98000000000002</c:v>
                </c:pt>
                <c:pt idx="150">
                  <c:v>-95.980000000000018</c:v>
                </c:pt>
                <c:pt idx="151">
                  <c:v>-95.940000000000055</c:v>
                </c:pt>
                <c:pt idx="152">
                  <c:v>-90.940000000000055</c:v>
                </c:pt>
                <c:pt idx="153">
                  <c:v>-88.639999999999986</c:v>
                </c:pt>
                <c:pt idx="154">
                  <c:v>-83.639999999999986</c:v>
                </c:pt>
                <c:pt idx="155">
                  <c:v>-78.639999999999986</c:v>
                </c:pt>
                <c:pt idx="156">
                  <c:v>-73.639999999999986</c:v>
                </c:pt>
                <c:pt idx="157">
                  <c:v>-68.639999999999986</c:v>
                </c:pt>
                <c:pt idx="158">
                  <c:v>-63.639999999999986</c:v>
                </c:pt>
                <c:pt idx="159">
                  <c:v>-58.639999999999986</c:v>
                </c:pt>
                <c:pt idx="160">
                  <c:v>-53.639999999999986</c:v>
                </c:pt>
                <c:pt idx="161">
                  <c:v>-48.639999999999986</c:v>
                </c:pt>
                <c:pt idx="162">
                  <c:v>-43.639999999999986</c:v>
                </c:pt>
                <c:pt idx="163">
                  <c:v>-38.639999999999986</c:v>
                </c:pt>
                <c:pt idx="164">
                  <c:v>-33.639999999999986</c:v>
                </c:pt>
                <c:pt idx="165">
                  <c:v>-28.639999999999986</c:v>
                </c:pt>
                <c:pt idx="166">
                  <c:v>-28.600000000000023</c:v>
                </c:pt>
                <c:pt idx="167">
                  <c:v>-23.639999999999986</c:v>
                </c:pt>
                <c:pt idx="168">
                  <c:v>-18.639999999999986</c:v>
                </c:pt>
                <c:pt idx="169">
                  <c:v>-13.639999999999986</c:v>
                </c:pt>
                <c:pt idx="170">
                  <c:v>-8.6399999999999864</c:v>
                </c:pt>
                <c:pt idx="171">
                  <c:v>-8.25</c:v>
                </c:pt>
                <c:pt idx="172">
                  <c:v>-3.25</c:v>
                </c:pt>
                <c:pt idx="173">
                  <c:v>-0.10000000000002274</c:v>
                </c:pt>
                <c:pt idx="174">
                  <c:v>4.8999999999999773</c:v>
                </c:pt>
                <c:pt idx="175">
                  <c:v>9.8999999999999773</c:v>
                </c:pt>
                <c:pt idx="176">
                  <c:v>14.899999999999977</c:v>
                </c:pt>
                <c:pt idx="177">
                  <c:v>19.899999999999977</c:v>
                </c:pt>
                <c:pt idx="178">
                  <c:v>24.899999999999977</c:v>
                </c:pt>
                <c:pt idx="179">
                  <c:v>29.899999999999977</c:v>
                </c:pt>
                <c:pt idx="180">
                  <c:v>34.899999999999977</c:v>
                </c:pt>
                <c:pt idx="181">
                  <c:v>39.899999999999977</c:v>
                </c:pt>
                <c:pt idx="182">
                  <c:v>44.899999999999977</c:v>
                </c:pt>
                <c:pt idx="183">
                  <c:v>49.899999999999977</c:v>
                </c:pt>
                <c:pt idx="184">
                  <c:v>54.899999999999977</c:v>
                </c:pt>
                <c:pt idx="185">
                  <c:v>59.899999999999977</c:v>
                </c:pt>
                <c:pt idx="186">
                  <c:v>59.940000000000055</c:v>
                </c:pt>
                <c:pt idx="187">
                  <c:v>64.899999999999977</c:v>
                </c:pt>
                <c:pt idx="188">
                  <c:v>69.899999999999977</c:v>
                </c:pt>
                <c:pt idx="189">
                  <c:v>73.769999999999982</c:v>
                </c:pt>
                <c:pt idx="190">
                  <c:v>78.769999999999982</c:v>
                </c:pt>
                <c:pt idx="191">
                  <c:v>83.25</c:v>
                </c:pt>
                <c:pt idx="192">
                  <c:v>88.25</c:v>
                </c:pt>
                <c:pt idx="193">
                  <c:v>89.92999999999995</c:v>
                </c:pt>
                <c:pt idx="194">
                  <c:v>94.92999999999995</c:v>
                </c:pt>
                <c:pt idx="195">
                  <c:v>97.230000000000018</c:v>
                </c:pt>
                <c:pt idx="196">
                  <c:v>102.23000000000002</c:v>
                </c:pt>
                <c:pt idx="197">
                  <c:v>102.30999999999995</c:v>
                </c:pt>
                <c:pt idx="198">
                  <c:v>107.30999999999995</c:v>
                </c:pt>
                <c:pt idx="199">
                  <c:v>108.57000000000005</c:v>
                </c:pt>
                <c:pt idx="200">
                  <c:v>113.25</c:v>
                </c:pt>
                <c:pt idx="201">
                  <c:v>118.09000000000003</c:v>
                </c:pt>
                <c:pt idx="202">
                  <c:v>122.38999999999999</c:v>
                </c:pt>
                <c:pt idx="203">
                  <c:v>126.52999999999997</c:v>
                </c:pt>
                <c:pt idx="204">
                  <c:v>130.26999999999998</c:v>
                </c:pt>
                <c:pt idx="205">
                  <c:v>134.83000000000004</c:v>
                </c:pt>
                <c:pt idx="206">
                  <c:v>137.07000000000005</c:v>
                </c:pt>
                <c:pt idx="207">
                  <c:v>142.07000000000005</c:v>
                </c:pt>
                <c:pt idx="208">
                  <c:v>142.21000000000004</c:v>
                </c:pt>
                <c:pt idx="209">
                  <c:v>144.75</c:v>
                </c:pt>
                <c:pt idx="210">
                  <c:v>148.19000000000005</c:v>
                </c:pt>
                <c:pt idx="211">
                  <c:v>151.30999999999995</c:v>
                </c:pt>
                <c:pt idx="212">
                  <c:v>153.78999999999996</c:v>
                </c:pt>
                <c:pt idx="213">
                  <c:v>158.59000000000003</c:v>
                </c:pt>
                <c:pt idx="214">
                  <c:v>160.88999999999999</c:v>
                </c:pt>
                <c:pt idx="215">
                  <c:v>165.09000000000003</c:v>
                </c:pt>
                <c:pt idx="216">
                  <c:v>167.49</c:v>
                </c:pt>
                <c:pt idx="217">
                  <c:v>172.11</c:v>
                </c:pt>
                <c:pt idx="218">
                  <c:v>174.61</c:v>
                </c:pt>
                <c:pt idx="219">
                  <c:v>176.83000000000004</c:v>
                </c:pt>
                <c:pt idx="220">
                  <c:v>180.47000000000003</c:v>
                </c:pt>
                <c:pt idx="221">
                  <c:v>182.71000000000004</c:v>
                </c:pt>
                <c:pt idx="222">
                  <c:v>185.59000000000003</c:v>
                </c:pt>
                <c:pt idx="223">
                  <c:v>187.51</c:v>
                </c:pt>
                <c:pt idx="224">
                  <c:v>190.47000000000003</c:v>
                </c:pt>
                <c:pt idx="225">
                  <c:v>193.23000000000002</c:v>
                </c:pt>
                <c:pt idx="226">
                  <c:v>195.35000000000002</c:v>
                </c:pt>
                <c:pt idx="227">
                  <c:v>198.14999999999998</c:v>
                </c:pt>
                <c:pt idx="228">
                  <c:v>200.14999999999998</c:v>
                </c:pt>
                <c:pt idx="229">
                  <c:v>202.59000000000003</c:v>
                </c:pt>
                <c:pt idx="230">
                  <c:v>204.83000000000004</c:v>
                </c:pt>
                <c:pt idx="231">
                  <c:v>208.35000000000002</c:v>
                </c:pt>
                <c:pt idx="232">
                  <c:v>210.02999999999997</c:v>
                </c:pt>
                <c:pt idx="233">
                  <c:v>211.71000000000004</c:v>
                </c:pt>
                <c:pt idx="234">
                  <c:v>214.59000000000003</c:v>
                </c:pt>
                <c:pt idx="235">
                  <c:v>216.51</c:v>
                </c:pt>
                <c:pt idx="236">
                  <c:v>219.23000000000002</c:v>
                </c:pt>
                <c:pt idx="237">
                  <c:v>221.30999999999995</c:v>
                </c:pt>
                <c:pt idx="238">
                  <c:v>223.95000000000005</c:v>
                </c:pt>
                <c:pt idx="239">
                  <c:v>225.78999999999996</c:v>
                </c:pt>
                <c:pt idx="240">
                  <c:v>228.66999999999996</c:v>
                </c:pt>
                <c:pt idx="241">
                  <c:v>230.26999999999998</c:v>
                </c:pt>
                <c:pt idx="242">
                  <c:v>232.76999999999998</c:v>
                </c:pt>
                <c:pt idx="243">
                  <c:v>234.37</c:v>
                </c:pt>
                <c:pt idx="244">
                  <c:v>235.97000000000003</c:v>
                </c:pt>
                <c:pt idx="245">
                  <c:v>238.25</c:v>
                </c:pt>
                <c:pt idx="246">
                  <c:v>240.13</c:v>
                </c:pt>
                <c:pt idx="247">
                  <c:v>243.09000000000003</c:v>
                </c:pt>
                <c:pt idx="248">
                  <c:v>244.61</c:v>
                </c:pt>
                <c:pt idx="249">
                  <c:v>246.99</c:v>
                </c:pt>
                <c:pt idx="250">
                  <c:v>248.51</c:v>
                </c:pt>
                <c:pt idx="251">
                  <c:v>250.54999999999995</c:v>
                </c:pt>
                <c:pt idx="252">
                  <c:v>252.02999999999997</c:v>
                </c:pt>
                <c:pt idx="253">
                  <c:v>253.76999999999998</c:v>
                </c:pt>
                <c:pt idx="254">
                  <c:v>256.25</c:v>
                </c:pt>
                <c:pt idx="255">
                  <c:v>257.69000000000005</c:v>
                </c:pt>
                <c:pt idx="256">
                  <c:v>259.54999999999995</c:v>
                </c:pt>
                <c:pt idx="257">
                  <c:v>261.16999999999996</c:v>
                </c:pt>
                <c:pt idx="258">
                  <c:v>263.39</c:v>
                </c:pt>
                <c:pt idx="259">
                  <c:v>264.71000000000004</c:v>
                </c:pt>
                <c:pt idx="260">
                  <c:v>266.63</c:v>
                </c:pt>
                <c:pt idx="261">
                  <c:v>267.77</c:v>
                </c:pt>
                <c:pt idx="262">
                  <c:v>269.45000000000005</c:v>
                </c:pt>
                <c:pt idx="263">
                  <c:v>270.52999999999997</c:v>
                </c:pt>
                <c:pt idx="264">
                  <c:v>271.66999999999996</c:v>
                </c:pt>
                <c:pt idx="265">
                  <c:v>273.40999999999997</c:v>
                </c:pt>
                <c:pt idx="266">
                  <c:v>274.49</c:v>
                </c:pt>
                <c:pt idx="267">
                  <c:v>275.39</c:v>
                </c:pt>
                <c:pt idx="268">
                  <c:v>276.63000000000011</c:v>
                </c:pt>
                <c:pt idx="269">
                  <c:v>277.51</c:v>
                </c:pt>
                <c:pt idx="270">
                  <c:v>278.80999999999995</c:v>
                </c:pt>
                <c:pt idx="271">
                  <c:v>279.67000000000007</c:v>
                </c:pt>
                <c:pt idx="272">
                  <c:v>280.82999999999993</c:v>
                </c:pt>
                <c:pt idx="273">
                  <c:v>281.54999999999995</c:v>
                </c:pt>
                <c:pt idx="274">
                  <c:v>282.27</c:v>
                </c:pt>
                <c:pt idx="275">
                  <c:v>283.27</c:v>
                </c:pt>
                <c:pt idx="276">
                  <c:v>283.91000000000008</c:v>
                </c:pt>
                <c:pt idx="277">
                  <c:v>284.54999999999995</c:v>
                </c:pt>
                <c:pt idx="278">
                  <c:v>285.3900000000001</c:v>
                </c:pt>
                <c:pt idx="279">
                  <c:v>285.95000000000005</c:v>
                </c:pt>
                <c:pt idx="280">
                  <c:v>286.75</c:v>
                </c:pt>
                <c:pt idx="281">
                  <c:v>287.27</c:v>
                </c:pt>
                <c:pt idx="282">
                  <c:v>287.75</c:v>
                </c:pt>
                <c:pt idx="283">
                  <c:v>288.47000000000003</c:v>
                </c:pt>
                <c:pt idx="284">
                  <c:v>288.91000000000008</c:v>
                </c:pt>
                <c:pt idx="285">
                  <c:v>289.56999999999994</c:v>
                </c:pt>
                <c:pt idx="286">
                  <c:v>290.04999999999995</c:v>
                </c:pt>
                <c:pt idx="287">
                  <c:v>290.52999999999997</c:v>
                </c:pt>
                <c:pt idx="288">
                  <c:v>290.97000000000003</c:v>
                </c:pt>
                <c:pt idx="289">
                  <c:v>291.52999999999997</c:v>
                </c:pt>
                <c:pt idx="290">
                  <c:v>291.91000000000008</c:v>
                </c:pt>
                <c:pt idx="291">
                  <c:v>292.47000000000003</c:v>
                </c:pt>
                <c:pt idx="292">
                  <c:v>292.82999999999993</c:v>
                </c:pt>
                <c:pt idx="293">
                  <c:v>293.34999999999991</c:v>
                </c:pt>
                <c:pt idx="294">
                  <c:v>293.69000000000005</c:v>
                </c:pt>
                <c:pt idx="295">
                  <c:v>294.21000000000004</c:v>
                </c:pt>
                <c:pt idx="296">
                  <c:v>294.54999999999995</c:v>
                </c:pt>
                <c:pt idx="297">
                  <c:v>294.86999999999989</c:v>
                </c:pt>
                <c:pt idx="298">
                  <c:v>295.36999999999989</c:v>
                </c:pt>
                <c:pt idx="299">
                  <c:v>295.69000000000005</c:v>
                </c:pt>
                <c:pt idx="300">
                  <c:v>296.02999999999997</c:v>
                </c:pt>
                <c:pt idx="301">
                  <c:v>296.49</c:v>
                </c:pt>
                <c:pt idx="302">
                  <c:v>296.77</c:v>
                </c:pt>
                <c:pt idx="303">
                  <c:v>297.21000000000004</c:v>
                </c:pt>
                <c:pt idx="304">
                  <c:v>297.51</c:v>
                </c:pt>
                <c:pt idx="305">
                  <c:v>297.93000000000006</c:v>
                </c:pt>
                <c:pt idx="306">
                  <c:v>298.21000000000004</c:v>
                </c:pt>
                <c:pt idx="307">
                  <c:v>298.49</c:v>
                </c:pt>
                <c:pt idx="308">
                  <c:v>298.93000000000006</c:v>
                </c:pt>
                <c:pt idx="309">
                  <c:v>299.21000000000004</c:v>
                </c:pt>
                <c:pt idx="310">
                  <c:v>299.49</c:v>
                </c:pt>
                <c:pt idx="311">
                  <c:v>299.91000000000008</c:v>
                </c:pt>
                <c:pt idx="312">
                  <c:v>300.17000000000007</c:v>
                </c:pt>
                <c:pt idx="313">
                  <c:v>300.41000000000008</c:v>
                </c:pt>
                <c:pt idx="314">
                  <c:v>300.78999999999996</c:v>
                </c:pt>
                <c:pt idx="315">
                  <c:v>301.06999999999994</c:v>
                </c:pt>
                <c:pt idx="316">
                  <c:v>301.30999999999995</c:v>
                </c:pt>
                <c:pt idx="317">
                  <c:v>301.67000000000007</c:v>
                </c:pt>
                <c:pt idx="318">
                  <c:v>301.91000000000008</c:v>
                </c:pt>
                <c:pt idx="319">
                  <c:v>302.15000000000009</c:v>
                </c:pt>
                <c:pt idx="320">
                  <c:v>302.51</c:v>
                </c:pt>
                <c:pt idx="321">
                  <c:v>302.75</c:v>
                </c:pt>
                <c:pt idx="322">
                  <c:v>302.95000000000005</c:v>
                </c:pt>
                <c:pt idx="323">
                  <c:v>303.15000000000009</c:v>
                </c:pt>
                <c:pt idx="324">
                  <c:v>303.45000000000005</c:v>
                </c:pt>
                <c:pt idx="325">
                  <c:v>303.65000000000009</c:v>
                </c:pt>
                <c:pt idx="326">
                  <c:v>303.84999999999991</c:v>
                </c:pt>
                <c:pt idx="327">
                  <c:v>304.15000000000009</c:v>
                </c:pt>
                <c:pt idx="328">
                  <c:v>304.34999999999991</c:v>
                </c:pt>
                <c:pt idx="329">
                  <c:v>304.54999999999995</c:v>
                </c:pt>
                <c:pt idx="330">
                  <c:v>304.73</c:v>
                </c:pt>
                <c:pt idx="331">
                  <c:v>304.91000000000008</c:v>
                </c:pt>
                <c:pt idx="332">
                  <c:v>305.06999999999994</c:v>
                </c:pt>
                <c:pt idx="333">
                  <c:v>305.30999999999995</c:v>
                </c:pt>
                <c:pt idx="334">
                  <c:v>305.47000000000003</c:v>
                </c:pt>
                <c:pt idx="335">
                  <c:v>305.63000000000011</c:v>
                </c:pt>
                <c:pt idx="336">
                  <c:v>305.77</c:v>
                </c:pt>
                <c:pt idx="337">
                  <c:v>305.93000000000006</c:v>
                </c:pt>
                <c:pt idx="338">
                  <c:v>306.15000000000009</c:v>
                </c:pt>
                <c:pt idx="339">
                  <c:v>306.27</c:v>
                </c:pt>
                <c:pt idx="340">
                  <c:v>306.3900000000001</c:v>
                </c:pt>
                <c:pt idx="341">
                  <c:v>306.51</c:v>
                </c:pt>
                <c:pt idx="342">
                  <c:v>306.69000000000005</c:v>
                </c:pt>
                <c:pt idx="343">
                  <c:v>306.80999999999995</c:v>
                </c:pt>
                <c:pt idx="344">
                  <c:v>306.93000000000006</c:v>
                </c:pt>
                <c:pt idx="345">
                  <c:v>307.04999999999995</c:v>
                </c:pt>
                <c:pt idx="346">
                  <c:v>307.15000000000009</c:v>
                </c:pt>
                <c:pt idx="347">
                  <c:v>307.21000000000004</c:v>
                </c:pt>
                <c:pt idx="348">
                  <c:v>307.32999999999993</c:v>
                </c:pt>
                <c:pt idx="349">
                  <c:v>307.41000000000008</c:v>
                </c:pt>
                <c:pt idx="350">
                  <c:v>307.45000000000005</c:v>
                </c:pt>
                <c:pt idx="351">
                  <c:v>307.52999999999997</c:v>
                </c:pt>
                <c:pt idx="352">
                  <c:v>307.56999999999994</c:v>
                </c:pt>
                <c:pt idx="353">
                  <c:v>307.6099999999999</c:v>
                </c:pt>
                <c:pt idx="354">
                  <c:v>307.67000000000007</c:v>
                </c:pt>
                <c:pt idx="355">
                  <c:v>307.71000000000004</c:v>
                </c:pt>
                <c:pt idx="356">
                  <c:v>307.73</c:v>
                </c:pt>
                <c:pt idx="357">
                  <c:v>307.77</c:v>
                </c:pt>
                <c:pt idx="358">
                  <c:v>307.80999999999995</c:v>
                </c:pt>
                <c:pt idx="359">
                  <c:v>307.84999999999991</c:v>
                </c:pt>
                <c:pt idx="360">
                  <c:v>307.86999999999989</c:v>
                </c:pt>
                <c:pt idx="361">
                  <c:v>307.91000000000008</c:v>
                </c:pt>
                <c:pt idx="362">
                  <c:v>307.95000000000005</c:v>
                </c:pt>
                <c:pt idx="363">
                  <c:v>307.97000000000003</c:v>
                </c:pt>
                <c:pt idx="364">
                  <c:v>308.01</c:v>
                </c:pt>
                <c:pt idx="365">
                  <c:v>308.02999999999997</c:v>
                </c:pt>
                <c:pt idx="366">
                  <c:v>308.06999999999994</c:v>
                </c:pt>
                <c:pt idx="367">
                  <c:v>308.08999999999992</c:v>
                </c:pt>
                <c:pt idx="368">
                  <c:v>308.1099999999999</c:v>
                </c:pt>
                <c:pt idx="369">
                  <c:v>308.13000000000011</c:v>
                </c:pt>
                <c:pt idx="370">
                  <c:v>308.17000000000007</c:v>
                </c:pt>
                <c:pt idx="371">
                  <c:v>308.19000000000005</c:v>
                </c:pt>
                <c:pt idx="372">
                  <c:v>308.21000000000004</c:v>
                </c:pt>
                <c:pt idx="373">
                  <c:v>308.23</c:v>
                </c:pt>
                <c:pt idx="374">
                  <c:v>308.25</c:v>
                </c:pt>
                <c:pt idx="375">
                  <c:v>308.27</c:v>
                </c:pt>
                <c:pt idx="376">
                  <c:v>308.28999999999996</c:v>
                </c:pt>
                <c:pt idx="377">
                  <c:v>308.30999999999995</c:v>
                </c:pt>
                <c:pt idx="378">
                  <c:v>308.32999999999993</c:v>
                </c:pt>
                <c:pt idx="379">
                  <c:v>308.34999999999991</c:v>
                </c:pt>
                <c:pt idx="380">
                  <c:v>308.36999999999989</c:v>
                </c:pt>
                <c:pt idx="381">
                  <c:v>308.3900000000001</c:v>
                </c:pt>
                <c:pt idx="382">
                  <c:v>308.41000000000008</c:v>
                </c:pt>
                <c:pt idx="383">
                  <c:v>308.43000000000006</c:v>
                </c:pt>
                <c:pt idx="384">
                  <c:v>308.45000000000005</c:v>
                </c:pt>
                <c:pt idx="385">
                  <c:v>308.47000000000003</c:v>
                </c:pt>
                <c:pt idx="386">
                  <c:v>308.49</c:v>
                </c:pt>
                <c:pt idx="387">
                  <c:v>308.51</c:v>
                </c:pt>
                <c:pt idx="388">
                  <c:v>308.52999999999997</c:v>
                </c:pt>
                <c:pt idx="389">
                  <c:v>308.54999999999995</c:v>
                </c:pt>
                <c:pt idx="390">
                  <c:v>308.56999999999994</c:v>
                </c:pt>
                <c:pt idx="391">
                  <c:v>308.58999999999992</c:v>
                </c:pt>
                <c:pt idx="392">
                  <c:v>308.6099999999999</c:v>
                </c:pt>
                <c:pt idx="393">
                  <c:v>308.63000000000011</c:v>
                </c:pt>
                <c:pt idx="394">
                  <c:v>308.65000000000009</c:v>
                </c:pt>
                <c:pt idx="395">
                  <c:v>308.67000000000007</c:v>
                </c:pt>
                <c:pt idx="396">
                  <c:v>308.69000000000005</c:v>
                </c:pt>
                <c:pt idx="397">
                  <c:v>308.71000000000004</c:v>
                </c:pt>
                <c:pt idx="398">
                  <c:v>308.73</c:v>
                </c:pt>
                <c:pt idx="399">
                  <c:v>308.75</c:v>
                </c:pt>
                <c:pt idx="400">
                  <c:v>308.77</c:v>
                </c:pt>
                <c:pt idx="401">
                  <c:v>308.78999999999996</c:v>
                </c:pt>
                <c:pt idx="402">
                  <c:v>308.80999999999995</c:v>
                </c:pt>
                <c:pt idx="403">
                  <c:v>308.82999999999993</c:v>
                </c:pt>
                <c:pt idx="404">
                  <c:v>308.84999999999991</c:v>
                </c:pt>
                <c:pt idx="405">
                  <c:v>308.86999999999989</c:v>
                </c:pt>
                <c:pt idx="406">
                  <c:v>308.8900000000001</c:v>
                </c:pt>
                <c:pt idx="407">
                  <c:v>308.91000000000008</c:v>
                </c:pt>
                <c:pt idx="408">
                  <c:v>308.93000000000006</c:v>
                </c:pt>
                <c:pt idx="409">
                  <c:v>308.95000000000005</c:v>
                </c:pt>
                <c:pt idx="410">
                  <c:v>308.97000000000003</c:v>
                </c:pt>
                <c:pt idx="411">
                  <c:v>308.99</c:v>
                </c:pt>
                <c:pt idx="412">
                  <c:v>309.01</c:v>
                </c:pt>
                <c:pt idx="413">
                  <c:v>309.02999999999997</c:v>
                </c:pt>
                <c:pt idx="414">
                  <c:v>309.04999999999995</c:v>
                </c:pt>
                <c:pt idx="415">
                  <c:v>309.06999999999994</c:v>
                </c:pt>
                <c:pt idx="416">
                  <c:v>309.08999999999992</c:v>
                </c:pt>
                <c:pt idx="417">
                  <c:v>309.1099999999999</c:v>
                </c:pt>
                <c:pt idx="418">
                  <c:v>309.13000000000011</c:v>
                </c:pt>
                <c:pt idx="419">
                  <c:v>309.15000000000009</c:v>
                </c:pt>
                <c:pt idx="420">
                  <c:v>309.17000000000007</c:v>
                </c:pt>
                <c:pt idx="421">
                  <c:v>309.19000000000005</c:v>
                </c:pt>
                <c:pt idx="422">
                  <c:v>309.21000000000004</c:v>
                </c:pt>
                <c:pt idx="423">
                  <c:v>309.23</c:v>
                </c:pt>
                <c:pt idx="424">
                  <c:v>309.25</c:v>
                </c:pt>
                <c:pt idx="425">
                  <c:v>309.27</c:v>
                </c:pt>
                <c:pt idx="426">
                  <c:v>309.28999999999996</c:v>
                </c:pt>
                <c:pt idx="427">
                  <c:v>309.30999999999995</c:v>
                </c:pt>
                <c:pt idx="428">
                  <c:v>309.32999999999993</c:v>
                </c:pt>
                <c:pt idx="429">
                  <c:v>309.34999999999991</c:v>
                </c:pt>
                <c:pt idx="430">
                  <c:v>309.36999999999989</c:v>
                </c:pt>
                <c:pt idx="431">
                  <c:v>309.3900000000001</c:v>
                </c:pt>
                <c:pt idx="432">
                  <c:v>309.41000000000008</c:v>
                </c:pt>
                <c:pt idx="433">
                  <c:v>309.43000000000006</c:v>
                </c:pt>
                <c:pt idx="434">
                  <c:v>309.45000000000005</c:v>
                </c:pt>
                <c:pt idx="435">
                  <c:v>309.47000000000003</c:v>
                </c:pt>
                <c:pt idx="436">
                  <c:v>309.49</c:v>
                </c:pt>
                <c:pt idx="437">
                  <c:v>309.51</c:v>
                </c:pt>
                <c:pt idx="438">
                  <c:v>309.52999999999997</c:v>
                </c:pt>
                <c:pt idx="439">
                  <c:v>309.56999999999994</c:v>
                </c:pt>
                <c:pt idx="440">
                  <c:v>309.80999999999995</c:v>
                </c:pt>
                <c:pt idx="441">
                  <c:v>309.83999999999992</c:v>
                </c:pt>
                <c:pt idx="442">
                  <c:v>314.83999999999992</c:v>
                </c:pt>
                <c:pt idx="443">
                  <c:v>319.83999999999992</c:v>
                </c:pt>
                <c:pt idx="444">
                  <c:v>324.83999999999992</c:v>
                </c:pt>
                <c:pt idx="445">
                  <c:v>327.74</c:v>
                </c:pt>
                <c:pt idx="446">
                  <c:v>332.74</c:v>
                </c:pt>
              </c:numCache>
            </c:numRef>
          </c:xVal>
          <c:yVal>
            <c:numRef>
              <c:f>Data!$V$9:$V$510</c:f>
              <c:numCache>
                <c:formatCode>General</c:formatCode>
                <c:ptCount val="502"/>
                <c:pt idx="0">
                  <c:v>25.8</c:v>
                </c:pt>
                <c:pt idx="1">
                  <c:v>25.77</c:v>
                </c:pt>
                <c:pt idx="2">
                  <c:v>30.29</c:v>
                </c:pt>
                <c:pt idx="3">
                  <c:v>30.33</c:v>
                </c:pt>
                <c:pt idx="4">
                  <c:v>30.37</c:v>
                </c:pt>
                <c:pt idx="5">
                  <c:v>30.36</c:v>
                </c:pt>
                <c:pt idx="6">
                  <c:v>30.41</c:v>
                </c:pt>
                <c:pt idx="7">
                  <c:v>30.41</c:v>
                </c:pt>
                <c:pt idx="8">
                  <c:v>30.47</c:v>
                </c:pt>
                <c:pt idx="9">
                  <c:v>30.48</c:v>
                </c:pt>
                <c:pt idx="10">
                  <c:v>30.72</c:v>
                </c:pt>
                <c:pt idx="11">
                  <c:v>30.84</c:v>
                </c:pt>
                <c:pt idx="12">
                  <c:v>30.84</c:v>
                </c:pt>
                <c:pt idx="13">
                  <c:v>30.87</c:v>
                </c:pt>
                <c:pt idx="14">
                  <c:v>30.92</c:v>
                </c:pt>
                <c:pt idx="15">
                  <c:v>30.92</c:v>
                </c:pt>
                <c:pt idx="16">
                  <c:v>39.67</c:v>
                </c:pt>
                <c:pt idx="17">
                  <c:v>40</c:v>
                </c:pt>
                <c:pt idx="18">
                  <c:v>40.17</c:v>
                </c:pt>
                <c:pt idx="19">
                  <c:v>40.18</c:v>
                </c:pt>
                <c:pt idx="20">
                  <c:v>40.26</c:v>
                </c:pt>
                <c:pt idx="21">
                  <c:v>40.29</c:v>
                </c:pt>
                <c:pt idx="22">
                  <c:v>40.29</c:v>
                </c:pt>
                <c:pt idx="23">
                  <c:v>40.32</c:v>
                </c:pt>
                <c:pt idx="24">
                  <c:v>40.32</c:v>
                </c:pt>
                <c:pt idx="25">
                  <c:v>40.35</c:v>
                </c:pt>
                <c:pt idx="26">
                  <c:v>40.380000000000003</c:v>
                </c:pt>
                <c:pt idx="27">
                  <c:v>40.36</c:v>
                </c:pt>
                <c:pt idx="28">
                  <c:v>40.07</c:v>
                </c:pt>
                <c:pt idx="29">
                  <c:v>40.01</c:v>
                </c:pt>
                <c:pt idx="30">
                  <c:v>40.01</c:v>
                </c:pt>
                <c:pt idx="31">
                  <c:v>39.840000000000003</c:v>
                </c:pt>
                <c:pt idx="32">
                  <c:v>39.880000000000003</c:v>
                </c:pt>
                <c:pt idx="33">
                  <c:v>39.86</c:v>
                </c:pt>
                <c:pt idx="34">
                  <c:v>49.45</c:v>
                </c:pt>
                <c:pt idx="35">
                  <c:v>50.02</c:v>
                </c:pt>
                <c:pt idx="36">
                  <c:v>50.06</c:v>
                </c:pt>
                <c:pt idx="37">
                  <c:v>50.2</c:v>
                </c:pt>
                <c:pt idx="38">
                  <c:v>50.12</c:v>
                </c:pt>
                <c:pt idx="39">
                  <c:v>50.23</c:v>
                </c:pt>
                <c:pt idx="40">
                  <c:v>50.2</c:v>
                </c:pt>
                <c:pt idx="41">
                  <c:v>50.2</c:v>
                </c:pt>
                <c:pt idx="42">
                  <c:v>50.19</c:v>
                </c:pt>
                <c:pt idx="43">
                  <c:v>50.15</c:v>
                </c:pt>
                <c:pt idx="44">
                  <c:v>50.21</c:v>
                </c:pt>
                <c:pt idx="45">
                  <c:v>50.27</c:v>
                </c:pt>
                <c:pt idx="46">
                  <c:v>50.38</c:v>
                </c:pt>
                <c:pt idx="47">
                  <c:v>50.43</c:v>
                </c:pt>
                <c:pt idx="48">
                  <c:v>50.43</c:v>
                </c:pt>
                <c:pt idx="49">
                  <c:v>50.5</c:v>
                </c:pt>
                <c:pt idx="50">
                  <c:v>50.27</c:v>
                </c:pt>
                <c:pt idx="51">
                  <c:v>50.27</c:v>
                </c:pt>
                <c:pt idx="52">
                  <c:v>59.46</c:v>
                </c:pt>
                <c:pt idx="53">
                  <c:v>60</c:v>
                </c:pt>
                <c:pt idx="54">
                  <c:v>60.01</c:v>
                </c:pt>
                <c:pt idx="55">
                  <c:v>59.82</c:v>
                </c:pt>
                <c:pt idx="56">
                  <c:v>59.69</c:v>
                </c:pt>
                <c:pt idx="57">
                  <c:v>59.61</c:v>
                </c:pt>
                <c:pt idx="58">
                  <c:v>59.38</c:v>
                </c:pt>
                <c:pt idx="59">
                  <c:v>59.27</c:v>
                </c:pt>
                <c:pt idx="60">
                  <c:v>59.18</c:v>
                </c:pt>
                <c:pt idx="61">
                  <c:v>59.11</c:v>
                </c:pt>
                <c:pt idx="62">
                  <c:v>59.06</c:v>
                </c:pt>
                <c:pt idx="63">
                  <c:v>59.07</c:v>
                </c:pt>
                <c:pt idx="64">
                  <c:v>59.09</c:v>
                </c:pt>
                <c:pt idx="65">
                  <c:v>59.02</c:v>
                </c:pt>
                <c:pt idx="66">
                  <c:v>59.02</c:v>
                </c:pt>
                <c:pt idx="67">
                  <c:v>58.99</c:v>
                </c:pt>
                <c:pt idx="68">
                  <c:v>59.01</c:v>
                </c:pt>
                <c:pt idx="69">
                  <c:v>59</c:v>
                </c:pt>
                <c:pt idx="70">
                  <c:v>69.03</c:v>
                </c:pt>
                <c:pt idx="71">
                  <c:v>70</c:v>
                </c:pt>
                <c:pt idx="72">
                  <c:v>70.13</c:v>
                </c:pt>
                <c:pt idx="73">
                  <c:v>70.06</c:v>
                </c:pt>
                <c:pt idx="74">
                  <c:v>70.19</c:v>
                </c:pt>
                <c:pt idx="75">
                  <c:v>70.38</c:v>
                </c:pt>
                <c:pt idx="76">
                  <c:v>70.489999999999995</c:v>
                </c:pt>
                <c:pt idx="77">
                  <c:v>70.58</c:v>
                </c:pt>
                <c:pt idx="78">
                  <c:v>70.42</c:v>
                </c:pt>
                <c:pt idx="79">
                  <c:v>70.37</c:v>
                </c:pt>
                <c:pt idx="80">
                  <c:v>70.33</c:v>
                </c:pt>
                <c:pt idx="81">
                  <c:v>70.180000000000007</c:v>
                </c:pt>
                <c:pt idx="82">
                  <c:v>70.260000000000005</c:v>
                </c:pt>
                <c:pt idx="83">
                  <c:v>70.05</c:v>
                </c:pt>
                <c:pt idx="84">
                  <c:v>70.05</c:v>
                </c:pt>
                <c:pt idx="85">
                  <c:v>70</c:v>
                </c:pt>
                <c:pt idx="86">
                  <c:v>69.849999999999994</c:v>
                </c:pt>
                <c:pt idx="87">
                  <c:v>79.209999999999994</c:v>
                </c:pt>
                <c:pt idx="88">
                  <c:v>80</c:v>
                </c:pt>
                <c:pt idx="89">
                  <c:v>80.150000000000006</c:v>
                </c:pt>
                <c:pt idx="90">
                  <c:v>80.03</c:v>
                </c:pt>
                <c:pt idx="91">
                  <c:v>80</c:v>
                </c:pt>
                <c:pt idx="92">
                  <c:v>79.87</c:v>
                </c:pt>
                <c:pt idx="93">
                  <c:v>79.78</c:v>
                </c:pt>
                <c:pt idx="94">
                  <c:v>79.739999999999995</c:v>
                </c:pt>
                <c:pt idx="95">
                  <c:v>79.760000000000005</c:v>
                </c:pt>
                <c:pt idx="96">
                  <c:v>79.72</c:v>
                </c:pt>
                <c:pt idx="97">
                  <c:v>79.7</c:v>
                </c:pt>
                <c:pt idx="98">
                  <c:v>79.69</c:v>
                </c:pt>
                <c:pt idx="99">
                  <c:v>79.66</c:v>
                </c:pt>
                <c:pt idx="100">
                  <c:v>79.62</c:v>
                </c:pt>
                <c:pt idx="101">
                  <c:v>79.63</c:v>
                </c:pt>
                <c:pt idx="102">
                  <c:v>79.87</c:v>
                </c:pt>
                <c:pt idx="103">
                  <c:v>80.040000000000006</c:v>
                </c:pt>
                <c:pt idx="104">
                  <c:v>80.16</c:v>
                </c:pt>
                <c:pt idx="105">
                  <c:v>80.22</c:v>
                </c:pt>
                <c:pt idx="106">
                  <c:v>80.290000000000006</c:v>
                </c:pt>
                <c:pt idx="107">
                  <c:v>80.099999999999994</c:v>
                </c:pt>
                <c:pt idx="108">
                  <c:v>80.180000000000007</c:v>
                </c:pt>
                <c:pt idx="109">
                  <c:v>80.180000000000007</c:v>
                </c:pt>
                <c:pt idx="110">
                  <c:v>89.37</c:v>
                </c:pt>
                <c:pt idx="111">
                  <c:v>90.18</c:v>
                </c:pt>
                <c:pt idx="112">
                  <c:v>90.22</c:v>
                </c:pt>
                <c:pt idx="113">
                  <c:v>90.08</c:v>
                </c:pt>
                <c:pt idx="114">
                  <c:v>90.13</c:v>
                </c:pt>
                <c:pt idx="115">
                  <c:v>89.99</c:v>
                </c:pt>
                <c:pt idx="116">
                  <c:v>89.94</c:v>
                </c:pt>
                <c:pt idx="117">
                  <c:v>89.9</c:v>
                </c:pt>
                <c:pt idx="118">
                  <c:v>89.79</c:v>
                </c:pt>
                <c:pt idx="119">
                  <c:v>89.82</c:v>
                </c:pt>
                <c:pt idx="120">
                  <c:v>89.74</c:v>
                </c:pt>
                <c:pt idx="121">
                  <c:v>89.79</c:v>
                </c:pt>
                <c:pt idx="122">
                  <c:v>89.83</c:v>
                </c:pt>
                <c:pt idx="123">
                  <c:v>89.73</c:v>
                </c:pt>
                <c:pt idx="124">
                  <c:v>89.73</c:v>
                </c:pt>
                <c:pt idx="125">
                  <c:v>89.8</c:v>
                </c:pt>
                <c:pt idx="126">
                  <c:v>90.04</c:v>
                </c:pt>
                <c:pt idx="127">
                  <c:v>90.12</c:v>
                </c:pt>
                <c:pt idx="128">
                  <c:v>90.25</c:v>
                </c:pt>
                <c:pt idx="129">
                  <c:v>90.33</c:v>
                </c:pt>
                <c:pt idx="130">
                  <c:v>90.34</c:v>
                </c:pt>
                <c:pt idx="131">
                  <c:v>90.18</c:v>
                </c:pt>
                <c:pt idx="132">
                  <c:v>90.31</c:v>
                </c:pt>
                <c:pt idx="133">
                  <c:v>90.31</c:v>
                </c:pt>
                <c:pt idx="134">
                  <c:v>99.26</c:v>
                </c:pt>
                <c:pt idx="135">
                  <c:v>100.31</c:v>
                </c:pt>
                <c:pt idx="136">
                  <c:v>100.39</c:v>
                </c:pt>
                <c:pt idx="137">
                  <c:v>100.45</c:v>
                </c:pt>
                <c:pt idx="138">
                  <c:v>100.27</c:v>
                </c:pt>
                <c:pt idx="139">
                  <c:v>100.34</c:v>
                </c:pt>
                <c:pt idx="140">
                  <c:v>100.21</c:v>
                </c:pt>
                <c:pt idx="141">
                  <c:v>100.36</c:v>
                </c:pt>
                <c:pt idx="142">
                  <c:v>100.36</c:v>
                </c:pt>
                <c:pt idx="143">
                  <c:v>100.37</c:v>
                </c:pt>
                <c:pt idx="144">
                  <c:v>100.5</c:v>
                </c:pt>
                <c:pt idx="145">
                  <c:v>100.46</c:v>
                </c:pt>
                <c:pt idx="146">
                  <c:v>100.52</c:v>
                </c:pt>
                <c:pt idx="147">
                  <c:v>100.56</c:v>
                </c:pt>
                <c:pt idx="148">
                  <c:v>100.56</c:v>
                </c:pt>
                <c:pt idx="149">
                  <c:v>100.45</c:v>
                </c:pt>
                <c:pt idx="150">
                  <c:v>100.56</c:v>
                </c:pt>
                <c:pt idx="151">
                  <c:v>100.55</c:v>
                </c:pt>
                <c:pt idx="152">
                  <c:v>109.13</c:v>
                </c:pt>
                <c:pt idx="153">
                  <c:v>110.33</c:v>
                </c:pt>
                <c:pt idx="154">
                  <c:v>110.45</c:v>
                </c:pt>
                <c:pt idx="155">
                  <c:v>110.57</c:v>
                </c:pt>
                <c:pt idx="156">
                  <c:v>110.47</c:v>
                </c:pt>
                <c:pt idx="157">
                  <c:v>110.57</c:v>
                </c:pt>
                <c:pt idx="158">
                  <c:v>110.59</c:v>
                </c:pt>
                <c:pt idx="159">
                  <c:v>110.45</c:v>
                </c:pt>
                <c:pt idx="160">
                  <c:v>110.37</c:v>
                </c:pt>
                <c:pt idx="161">
                  <c:v>110.34</c:v>
                </c:pt>
                <c:pt idx="162">
                  <c:v>110.26</c:v>
                </c:pt>
                <c:pt idx="163">
                  <c:v>110.31</c:v>
                </c:pt>
                <c:pt idx="164">
                  <c:v>110.17</c:v>
                </c:pt>
                <c:pt idx="165">
                  <c:v>110.24</c:v>
                </c:pt>
                <c:pt idx="166">
                  <c:v>110.24</c:v>
                </c:pt>
                <c:pt idx="167">
                  <c:v>110.39</c:v>
                </c:pt>
                <c:pt idx="168">
                  <c:v>110.4</c:v>
                </c:pt>
                <c:pt idx="169">
                  <c:v>110.51</c:v>
                </c:pt>
                <c:pt idx="170">
                  <c:v>110.54</c:v>
                </c:pt>
                <c:pt idx="171">
                  <c:v>110.53</c:v>
                </c:pt>
                <c:pt idx="172">
                  <c:v>118.33</c:v>
                </c:pt>
                <c:pt idx="173">
                  <c:v>120.31</c:v>
                </c:pt>
                <c:pt idx="174">
                  <c:v>120.37</c:v>
                </c:pt>
                <c:pt idx="175">
                  <c:v>120.29</c:v>
                </c:pt>
                <c:pt idx="176">
                  <c:v>120.23</c:v>
                </c:pt>
                <c:pt idx="177">
                  <c:v>120.2</c:v>
                </c:pt>
                <c:pt idx="178">
                  <c:v>120.23</c:v>
                </c:pt>
                <c:pt idx="179">
                  <c:v>120.1</c:v>
                </c:pt>
                <c:pt idx="180">
                  <c:v>120.01</c:v>
                </c:pt>
                <c:pt idx="181">
                  <c:v>120.13</c:v>
                </c:pt>
                <c:pt idx="182">
                  <c:v>120.14</c:v>
                </c:pt>
                <c:pt idx="183">
                  <c:v>120.27</c:v>
                </c:pt>
                <c:pt idx="184">
                  <c:v>120.34</c:v>
                </c:pt>
                <c:pt idx="185">
                  <c:v>120.37</c:v>
                </c:pt>
                <c:pt idx="186">
                  <c:v>120.37</c:v>
                </c:pt>
                <c:pt idx="187">
                  <c:v>120.66</c:v>
                </c:pt>
                <c:pt idx="188">
                  <c:v>120.82</c:v>
                </c:pt>
                <c:pt idx="189">
                  <c:v>120.98</c:v>
                </c:pt>
                <c:pt idx="190">
                  <c:v>121.27</c:v>
                </c:pt>
                <c:pt idx="191">
                  <c:v>121.6</c:v>
                </c:pt>
                <c:pt idx="192">
                  <c:v>121.83</c:v>
                </c:pt>
                <c:pt idx="193">
                  <c:v>122</c:v>
                </c:pt>
                <c:pt idx="194">
                  <c:v>122.4</c:v>
                </c:pt>
                <c:pt idx="195">
                  <c:v>122.6</c:v>
                </c:pt>
                <c:pt idx="196">
                  <c:v>122.99</c:v>
                </c:pt>
                <c:pt idx="197">
                  <c:v>123</c:v>
                </c:pt>
                <c:pt idx="198">
                  <c:v>123.44</c:v>
                </c:pt>
                <c:pt idx="199">
                  <c:v>123.61</c:v>
                </c:pt>
                <c:pt idx="200">
                  <c:v>124.01</c:v>
                </c:pt>
                <c:pt idx="201">
                  <c:v>124.61</c:v>
                </c:pt>
                <c:pt idx="202">
                  <c:v>125.02</c:v>
                </c:pt>
                <c:pt idx="203">
                  <c:v>125.62</c:v>
                </c:pt>
                <c:pt idx="204">
                  <c:v>126.03</c:v>
                </c:pt>
                <c:pt idx="205">
                  <c:v>126.63</c:v>
                </c:pt>
                <c:pt idx="206">
                  <c:v>127.04</c:v>
                </c:pt>
                <c:pt idx="207">
                  <c:v>127.63</c:v>
                </c:pt>
                <c:pt idx="208">
                  <c:v>127.64</c:v>
                </c:pt>
                <c:pt idx="209">
                  <c:v>128.06</c:v>
                </c:pt>
                <c:pt idx="210">
                  <c:v>128.66</c:v>
                </c:pt>
                <c:pt idx="211">
                  <c:v>129.08000000000001</c:v>
                </c:pt>
                <c:pt idx="212">
                  <c:v>129.49</c:v>
                </c:pt>
                <c:pt idx="213">
                  <c:v>130.11000000000001</c:v>
                </c:pt>
                <c:pt idx="214">
                  <c:v>130.52000000000001</c:v>
                </c:pt>
                <c:pt idx="215">
                  <c:v>131.13999999999999</c:v>
                </c:pt>
                <c:pt idx="216">
                  <c:v>131.56</c:v>
                </c:pt>
                <c:pt idx="217">
                  <c:v>132.16999999999999</c:v>
                </c:pt>
                <c:pt idx="218">
                  <c:v>132.57</c:v>
                </c:pt>
                <c:pt idx="219">
                  <c:v>132.97999999999999</c:v>
                </c:pt>
                <c:pt idx="220">
                  <c:v>133.59</c:v>
                </c:pt>
                <c:pt idx="221">
                  <c:v>134.01</c:v>
                </c:pt>
                <c:pt idx="222">
                  <c:v>134.63999999999999</c:v>
                </c:pt>
                <c:pt idx="223">
                  <c:v>135.04</c:v>
                </c:pt>
                <c:pt idx="224">
                  <c:v>135.66999999999999</c:v>
                </c:pt>
                <c:pt idx="225">
                  <c:v>136.08000000000001</c:v>
                </c:pt>
                <c:pt idx="226">
                  <c:v>136.49</c:v>
                </c:pt>
                <c:pt idx="227">
                  <c:v>137.1</c:v>
                </c:pt>
                <c:pt idx="228">
                  <c:v>137.51</c:v>
                </c:pt>
                <c:pt idx="229">
                  <c:v>138.12</c:v>
                </c:pt>
                <c:pt idx="230">
                  <c:v>138.53</c:v>
                </c:pt>
                <c:pt idx="231">
                  <c:v>139.15</c:v>
                </c:pt>
                <c:pt idx="232">
                  <c:v>139.56</c:v>
                </c:pt>
                <c:pt idx="233">
                  <c:v>139.97999999999999</c:v>
                </c:pt>
                <c:pt idx="234">
                  <c:v>140.59</c:v>
                </c:pt>
                <c:pt idx="235">
                  <c:v>140.99</c:v>
                </c:pt>
                <c:pt idx="236">
                  <c:v>141.62</c:v>
                </c:pt>
                <c:pt idx="237">
                  <c:v>142.02000000000001</c:v>
                </c:pt>
                <c:pt idx="238">
                  <c:v>142.62</c:v>
                </c:pt>
                <c:pt idx="239">
                  <c:v>143.03</c:v>
                </c:pt>
                <c:pt idx="240">
                  <c:v>143.65</c:v>
                </c:pt>
                <c:pt idx="241">
                  <c:v>144.05000000000001</c:v>
                </c:pt>
                <c:pt idx="242">
                  <c:v>144.66</c:v>
                </c:pt>
                <c:pt idx="243">
                  <c:v>145.08000000000001</c:v>
                </c:pt>
                <c:pt idx="244">
                  <c:v>145.5</c:v>
                </c:pt>
                <c:pt idx="245">
                  <c:v>146.12</c:v>
                </c:pt>
                <c:pt idx="246">
                  <c:v>146.54</c:v>
                </c:pt>
                <c:pt idx="247">
                  <c:v>147.15</c:v>
                </c:pt>
                <c:pt idx="248">
                  <c:v>147.56</c:v>
                </c:pt>
                <c:pt idx="249">
                  <c:v>148.16</c:v>
                </c:pt>
                <c:pt idx="250">
                  <c:v>148.57</c:v>
                </c:pt>
                <c:pt idx="251">
                  <c:v>149.16999999999999</c:v>
                </c:pt>
                <c:pt idx="252">
                  <c:v>149.58000000000001</c:v>
                </c:pt>
                <c:pt idx="253">
                  <c:v>149.99</c:v>
                </c:pt>
                <c:pt idx="254">
                  <c:v>150.6</c:v>
                </c:pt>
                <c:pt idx="255">
                  <c:v>151.01</c:v>
                </c:pt>
                <c:pt idx="256">
                  <c:v>151.62</c:v>
                </c:pt>
                <c:pt idx="257">
                  <c:v>152.03</c:v>
                </c:pt>
                <c:pt idx="258">
                  <c:v>152.63999999999999</c:v>
                </c:pt>
                <c:pt idx="259">
                  <c:v>153.04</c:v>
                </c:pt>
                <c:pt idx="260">
                  <c:v>153.65</c:v>
                </c:pt>
                <c:pt idx="261">
                  <c:v>154.05000000000001</c:v>
                </c:pt>
                <c:pt idx="262">
                  <c:v>154.66999999999999</c:v>
                </c:pt>
                <c:pt idx="263">
                  <c:v>155.1</c:v>
                </c:pt>
                <c:pt idx="264">
                  <c:v>155.54</c:v>
                </c:pt>
                <c:pt idx="265">
                  <c:v>156.16</c:v>
                </c:pt>
                <c:pt idx="266">
                  <c:v>156.58000000000001</c:v>
                </c:pt>
                <c:pt idx="267">
                  <c:v>156.99</c:v>
                </c:pt>
                <c:pt idx="268">
                  <c:v>157.6</c:v>
                </c:pt>
                <c:pt idx="269">
                  <c:v>158.01</c:v>
                </c:pt>
                <c:pt idx="270">
                  <c:v>158.63999999999999</c:v>
                </c:pt>
                <c:pt idx="271">
                  <c:v>159.05000000000001</c:v>
                </c:pt>
                <c:pt idx="272">
                  <c:v>159.69</c:v>
                </c:pt>
                <c:pt idx="273">
                  <c:v>160.1</c:v>
                </c:pt>
                <c:pt idx="274">
                  <c:v>160.53</c:v>
                </c:pt>
                <c:pt idx="275">
                  <c:v>161.15</c:v>
                </c:pt>
                <c:pt idx="276">
                  <c:v>161.58000000000001</c:v>
                </c:pt>
                <c:pt idx="277">
                  <c:v>162</c:v>
                </c:pt>
                <c:pt idx="278">
                  <c:v>162.61000000000001</c:v>
                </c:pt>
                <c:pt idx="279">
                  <c:v>163.02000000000001</c:v>
                </c:pt>
                <c:pt idx="280">
                  <c:v>163.65</c:v>
                </c:pt>
                <c:pt idx="281">
                  <c:v>164.07</c:v>
                </c:pt>
                <c:pt idx="282">
                  <c:v>164.48</c:v>
                </c:pt>
                <c:pt idx="283">
                  <c:v>165.11</c:v>
                </c:pt>
                <c:pt idx="284">
                  <c:v>165.52</c:v>
                </c:pt>
                <c:pt idx="285">
                  <c:v>166.14</c:v>
                </c:pt>
                <c:pt idx="286">
                  <c:v>166.59</c:v>
                </c:pt>
                <c:pt idx="287">
                  <c:v>167.05</c:v>
                </c:pt>
                <c:pt idx="288">
                  <c:v>167.49</c:v>
                </c:pt>
                <c:pt idx="289">
                  <c:v>168.1</c:v>
                </c:pt>
                <c:pt idx="290">
                  <c:v>168.51</c:v>
                </c:pt>
                <c:pt idx="291">
                  <c:v>169.13</c:v>
                </c:pt>
                <c:pt idx="292">
                  <c:v>169.54</c:v>
                </c:pt>
                <c:pt idx="293">
                  <c:v>170.14</c:v>
                </c:pt>
                <c:pt idx="294">
                  <c:v>170.54</c:v>
                </c:pt>
                <c:pt idx="295">
                  <c:v>171.16</c:v>
                </c:pt>
                <c:pt idx="296">
                  <c:v>171.58</c:v>
                </c:pt>
                <c:pt idx="297">
                  <c:v>172</c:v>
                </c:pt>
                <c:pt idx="298">
                  <c:v>172.64</c:v>
                </c:pt>
                <c:pt idx="299">
                  <c:v>173.05</c:v>
                </c:pt>
                <c:pt idx="300">
                  <c:v>173.49</c:v>
                </c:pt>
                <c:pt idx="301">
                  <c:v>174.11</c:v>
                </c:pt>
                <c:pt idx="302">
                  <c:v>174.52</c:v>
                </c:pt>
                <c:pt idx="303">
                  <c:v>175.14</c:v>
                </c:pt>
                <c:pt idx="304">
                  <c:v>175.55</c:v>
                </c:pt>
                <c:pt idx="305">
                  <c:v>176.16</c:v>
                </c:pt>
                <c:pt idx="306">
                  <c:v>176.57</c:v>
                </c:pt>
                <c:pt idx="307">
                  <c:v>177</c:v>
                </c:pt>
                <c:pt idx="308">
                  <c:v>177.65</c:v>
                </c:pt>
                <c:pt idx="309">
                  <c:v>178.08</c:v>
                </c:pt>
                <c:pt idx="310">
                  <c:v>178.51</c:v>
                </c:pt>
                <c:pt idx="311">
                  <c:v>179.17</c:v>
                </c:pt>
                <c:pt idx="312">
                  <c:v>179.58</c:v>
                </c:pt>
                <c:pt idx="313">
                  <c:v>179.98</c:v>
                </c:pt>
                <c:pt idx="314">
                  <c:v>180.6</c:v>
                </c:pt>
                <c:pt idx="315">
                  <c:v>181.06</c:v>
                </c:pt>
                <c:pt idx="316">
                  <c:v>181.49</c:v>
                </c:pt>
                <c:pt idx="317">
                  <c:v>182.12</c:v>
                </c:pt>
                <c:pt idx="318">
                  <c:v>182.56</c:v>
                </c:pt>
                <c:pt idx="319">
                  <c:v>183</c:v>
                </c:pt>
                <c:pt idx="320">
                  <c:v>183.69</c:v>
                </c:pt>
                <c:pt idx="321">
                  <c:v>184.17</c:v>
                </c:pt>
                <c:pt idx="322">
                  <c:v>184.57</c:v>
                </c:pt>
                <c:pt idx="323">
                  <c:v>184.98</c:v>
                </c:pt>
                <c:pt idx="324">
                  <c:v>185.6</c:v>
                </c:pt>
                <c:pt idx="325">
                  <c:v>186.04</c:v>
                </c:pt>
                <c:pt idx="326">
                  <c:v>186.49</c:v>
                </c:pt>
                <c:pt idx="327">
                  <c:v>187.18</c:v>
                </c:pt>
                <c:pt idx="328">
                  <c:v>187.66</c:v>
                </c:pt>
                <c:pt idx="329">
                  <c:v>188.14</c:v>
                </c:pt>
                <c:pt idx="330">
                  <c:v>188.6</c:v>
                </c:pt>
                <c:pt idx="331">
                  <c:v>189.06</c:v>
                </c:pt>
                <c:pt idx="332">
                  <c:v>189.48</c:v>
                </c:pt>
                <c:pt idx="333">
                  <c:v>190.14</c:v>
                </c:pt>
                <c:pt idx="334">
                  <c:v>190.61</c:v>
                </c:pt>
                <c:pt idx="335">
                  <c:v>191.08</c:v>
                </c:pt>
                <c:pt idx="336">
                  <c:v>191.53</c:v>
                </c:pt>
                <c:pt idx="337">
                  <c:v>192.02</c:v>
                </c:pt>
                <c:pt idx="338">
                  <c:v>192.73</c:v>
                </c:pt>
                <c:pt idx="339">
                  <c:v>193.14</c:v>
                </c:pt>
                <c:pt idx="340">
                  <c:v>193.57</c:v>
                </c:pt>
                <c:pt idx="341">
                  <c:v>194</c:v>
                </c:pt>
                <c:pt idx="342">
                  <c:v>194.69</c:v>
                </c:pt>
                <c:pt idx="343">
                  <c:v>195.15</c:v>
                </c:pt>
                <c:pt idx="344">
                  <c:v>195.67</c:v>
                </c:pt>
                <c:pt idx="345">
                  <c:v>196.18</c:v>
                </c:pt>
                <c:pt idx="346">
                  <c:v>196.68</c:v>
                </c:pt>
                <c:pt idx="347">
                  <c:v>196.98</c:v>
                </c:pt>
                <c:pt idx="348">
                  <c:v>197.64</c:v>
                </c:pt>
                <c:pt idx="349">
                  <c:v>198.23</c:v>
                </c:pt>
                <c:pt idx="350">
                  <c:v>198.53</c:v>
                </c:pt>
                <c:pt idx="351">
                  <c:v>199.19</c:v>
                </c:pt>
                <c:pt idx="352">
                  <c:v>199.6</c:v>
                </c:pt>
                <c:pt idx="353">
                  <c:v>200.03</c:v>
                </c:pt>
                <c:pt idx="354">
                  <c:v>200.63</c:v>
                </c:pt>
                <c:pt idx="355">
                  <c:v>201.24</c:v>
                </c:pt>
                <c:pt idx="356">
                  <c:v>201.5</c:v>
                </c:pt>
                <c:pt idx="357">
                  <c:v>202.02</c:v>
                </c:pt>
                <c:pt idx="358">
                  <c:v>202.59</c:v>
                </c:pt>
                <c:pt idx="359">
                  <c:v>203.18</c:v>
                </c:pt>
                <c:pt idx="360">
                  <c:v>203.49</c:v>
                </c:pt>
                <c:pt idx="361">
                  <c:v>204.1</c:v>
                </c:pt>
                <c:pt idx="362">
                  <c:v>204.73</c:v>
                </c:pt>
                <c:pt idx="363">
                  <c:v>205.05</c:v>
                </c:pt>
                <c:pt idx="364">
                  <c:v>205.74</c:v>
                </c:pt>
                <c:pt idx="365">
                  <c:v>206.09</c:v>
                </c:pt>
                <c:pt idx="366">
                  <c:v>206.8</c:v>
                </c:pt>
                <c:pt idx="367">
                  <c:v>207.19</c:v>
                </c:pt>
                <c:pt idx="368">
                  <c:v>207.58</c:v>
                </c:pt>
                <c:pt idx="369">
                  <c:v>207.99</c:v>
                </c:pt>
                <c:pt idx="370">
                  <c:v>208.92</c:v>
                </c:pt>
                <c:pt idx="371">
                  <c:v>209.39</c:v>
                </c:pt>
                <c:pt idx="372">
                  <c:v>209.87</c:v>
                </c:pt>
                <c:pt idx="373">
                  <c:v>210.34</c:v>
                </c:pt>
                <c:pt idx="374">
                  <c:v>210.81</c:v>
                </c:pt>
                <c:pt idx="375">
                  <c:v>211.41</c:v>
                </c:pt>
                <c:pt idx="376">
                  <c:v>212.01</c:v>
                </c:pt>
                <c:pt idx="377">
                  <c:v>212.68</c:v>
                </c:pt>
                <c:pt idx="378">
                  <c:v>213.34</c:v>
                </c:pt>
                <c:pt idx="379">
                  <c:v>214.02</c:v>
                </c:pt>
                <c:pt idx="380">
                  <c:v>214.7</c:v>
                </c:pt>
                <c:pt idx="381">
                  <c:v>215.4</c:v>
                </c:pt>
                <c:pt idx="382">
                  <c:v>216.06</c:v>
                </c:pt>
                <c:pt idx="383">
                  <c:v>216.71</c:v>
                </c:pt>
                <c:pt idx="384">
                  <c:v>217.37</c:v>
                </c:pt>
                <c:pt idx="385">
                  <c:v>218.02</c:v>
                </c:pt>
                <c:pt idx="386">
                  <c:v>218.77</c:v>
                </c:pt>
                <c:pt idx="387">
                  <c:v>219.51</c:v>
                </c:pt>
                <c:pt idx="388">
                  <c:v>220.34</c:v>
                </c:pt>
                <c:pt idx="389">
                  <c:v>221.16</c:v>
                </c:pt>
                <c:pt idx="390">
                  <c:v>222.03</c:v>
                </c:pt>
                <c:pt idx="391">
                  <c:v>223.09</c:v>
                </c:pt>
                <c:pt idx="392">
                  <c:v>223.99</c:v>
                </c:pt>
                <c:pt idx="393">
                  <c:v>224.72</c:v>
                </c:pt>
                <c:pt idx="394">
                  <c:v>225.35</c:v>
                </c:pt>
                <c:pt idx="395">
                  <c:v>226.05</c:v>
                </c:pt>
                <c:pt idx="396">
                  <c:v>226.78</c:v>
                </c:pt>
                <c:pt idx="397">
                  <c:v>227.61</c:v>
                </c:pt>
                <c:pt idx="398">
                  <c:v>228.54</c:v>
                </c:pt>
                <c:pt idx="399">
                  <c:v>229.32</c:v>
                </c:pt>
                <c:pt idx="400">
                  <c:v>230.07</c:v>
                </c:pt>
                <c:pt idx="401">
                  <c:v>230.9</c:v>
                </c:pt>
                <c:pt idx="402">
                  <c:v>231.79</c:v>
                </c:pt>
                <c:pt idx="403">
                  <c:v>232.54</c:v>
                </c:pt>
                <c:pt idx="404">
                  <c:v>233.49</c:v>
                </c:pt>
                <c:pt idx="405">
                  <c:v>234.46</c:v>
                </c:pt>
                <c:pt idx="406">
                  <c:v>235.27</c:v>
                </c:pt>
                <c:pt idx="407">
                  <c:v>236.13</c:v>
                </c:pt>
                <c:pt idx="408">
                  <c:v>237.03</c:v>
                </c:pt>
                <c:pt idx="409">
                  <c:v>238</c:v>
                </c:pt>
                <c:pt idx="410">
                  <c:v>238.99</c:v>
                </c:pt>
                <c:pt idx="411">
                  <c:v>240.05</c:v>
                </c:pt>
                <c:pt idx="412">
                  <c:v>241.21</c:v>
                </c:pt>
                <c:pt idx="413">
                  <c:v>242.48</c:v>
                </c:pt>
                <c:pt idx="414">
                  <c:v>243.82</c:v>
                </c:pt>
                <c:pt idx="415">
                  <c:v>245.26</c:v>
                </c:pt>
                <c:pt idx="416">
                  <c:v>246.99</c:v>
                </c:pt>
                <c:pt idx="417">
                  <c:v>248.95</c:v>
                </c:pt>
                <c:pt idx="418">
                  <c:v>250.94</c:v>
                </c:pt>
                <c:pt idx="419">
                  <c:v>252.92</c:v>
                </c:pt>
                <c:pt idx="420">
                  <c:v>255.02</c:v>
                </c:pt>
                <c:pt idx="421">
                  <c:v>257.14</c:v>
                </c:pt>
                <c:pt idx="422">
                  <c:v>259.27</c:v>
                </c:pt>
                <c:pt idx="423">
                  <c:v>261.41000000000003</c:v>
                </c:pt>
                <c:pt idx="424">
                  <c:v>263.32</c:v>
                </c:pt>
                <c:pt idx="425">
                  <c:v>265.39</c:v>
                </c:pt>
                <c:pt idx="426">
                  <c:v>267.63</c:v>
                </c:pt>
                <c:pt idx="427">
                  <c:v>270.29000000000002</c:v>
                </c:pt>
                <c:pt idx="428">
                  <c:v>272.89</c:v>
                </c:pt>
                <c:pt idx="429">
                  <c:v>275.35000000000002</c:v>
                </c:pt>
                <c:pt idx="430">
                  <c:v>277.32</c:v>
                </c:pt>
                <c:pt idx="431">
                  <c:v>278.94</c:v>
                </c:pt>
                <c:pt idx="432">
                  <c:v>280.48</c:v>
                </c:pt>
                <c:pt idx="433">
                  <c:v>281.83</c:v>
                </c:pt>
                <c:pt idx="434">
                  <c:v>282.95999999999998</c:v>
                </c:pt>
                <c:pt idx="435">
                  <c:v>283.81</c:v>
                </c:pt>
                <c:pt idx="436">
                  <c:v>284.39</c:v>
                </c:pt>
                <c:pt idx="437">
                  <c:v>284.8</c:v>
                </c:pt>
                <c:pt idx="438">
                  <c:v>285.04000000000002</c:v>
                </c:pt>
                <c:pt idx="439">
                  <c:v>285.39</c:v>
                </c:pt>
                <c:pt idx="440">
                  <c:v>285.12</c:v>
                </c:pt>
                <c:pt idx="441">
                  <c:v>285.02</c:v>
                </c:pt>
                <c:pt idx="442">
                  <c:v>280.18</c:v>
                </c:pt>
                <c:pt idx="443">
                  <c:v>290.95999999999998</c:v>
                </c:pt>
                <c:pt idx="444">
                  <c:v>294.56</c:v>
                </c:pt>
                <c:pt idx="445">
                  <c:v>295.12</c:v>
                </c:pt>
                <c:pt idx="446">
                  <c:v>293.72000000000003</c:v>
                </c:pt>
              </c:numCache>
            </c:numRef>
          </c:yVal>
          <c:smooth val="0"/>
          <c:extLst>
            <c:ext xmlns:c16="http://schemas.microsoft.com/office/drawing/2014/chart" uri="{C3380CC4-5D6E-409C-BE32-E72D297353CC}">
              <c16:uniqueId val="{00000004-ED69-4A8E-A206-AA40F443BECF}"/>
            </c:ext>
          </c:extLst>
        </c:ser>
        <c:dLbls>
          <c:showLegendKey val="0"/>
          <c:showVal val="0"/>
          <c:showCatName val="0"/>
          <c:showSerName val="0"/>
          <c:showPercent val="0"/>
          <c:showBubbleSize val="0"/>
        </c:dLbls>
        <c:axId val="392394624"/>
        <c:axId val="392400896"/>
        <c:extLst>
          <c:ext xmlns:c15="http://schemas.microsoft.com/office/drawing/2012/chart" uri="{02D57815-91ED-43cb-92C2-25804820EDAC}">
            <c15:filteredScatterSeries>
              <c15:ser>
                <c:idx val="10"/>
                <c:order val="10"/>
                <c:tx>
                  <c:strRef>
                    <c:extLst>
                      <c:ext uri="{02D57815-91ED-43cb-92C2-25804820EDAC}">
                        <c15:formulaRef>
                          <c15:sqref>Data!$AB$6</c15:sqref>
                        </c15:formulaRef>
                      </c:ext>
                    </c:extLst>
                    <c:strCache>
                      <c:ptCount val="1"/>
                      <c:pt idx="0">
                        <c:v>6 Temperature</c:v>
                      </c:pt>
                    </c:strCache>
                  </c:strRef>
                </c:tx>
                <c:spPr>
                  <a:ln w="25400">
                    <a:solidFill>
                      <a:schemeClr val="accent2">
                        <a:lumMod val="75000"/>
                      </a:schemeClr>
                    </a:solidFill>
                  </a:ln>
                </c:spPr>
                <c:marker>
                  <c:symbol val="none"/>
                </c:marker>
                <c:xVal>
                  <c:numRef>
                    <c:extLst>
                      <c:ext uri="{02D57815-91ED-43cb-92C2-25804820EDAC}">
                        <c15:formulaRef>
                          <c15:sqref>Data!$AC$9:$AC$13</c15:sqref>
                        </c15:formulaRef>
                      </c:ext>
                    </c:extLst>
                    <c:numCache>
                      <c:formatCode>General</c:formatCode>
                      <c:ptCount val="5"/>
                      <c:pt idx="0">
                        <c:v>0</c:v>
                      </c:pt>
                      <c:pt idx="1">
                        <c:v>0</c:v>
                      </c:pt>
                      <c:pt idx="2">
                        <c:v>0</c:v>
                      </c:pt>
                      <c:pt idx="3">
                        <c:v>0</c:v>
                      </c:pt>
                      <c:pt idx="4">
                        <c:v>0</c:v>
                      </c:pt>
                    </c:numCache>
                  </c:numRef>
                </c:xVal>
                <c:yVal>
                  <c:numRef>
                    <c:extLst>
                      <c:ext uri="{02D57815-91ED-43cb-92C2-25804820EDAC}">
                        <c15:formulaRef>
                          <c15:sqref>Data!$AA$9:$AA$13</c15:sqref>
                        </c15:formulaRef>
                      </c:ext>
                    </c:extLst>
                    <c:numCache>
                      <c:formatCode>General</c:formatCode>
                      <c:ptCount val="5"/>
                    </c:numCache>
                  </c:numRef>
                </c:yVal>
                <c:smooth val="0"/>
                <c:extLst>
                  <c:ext xmlns:c16="http://schemas.microsoft.com/office/drawing/2014/chart" uri="{C3380CC4-5D6E-409C-BE32-E72D297353CC}">
                    <c16:uniqueId val="{0000000A-ED69-4A8E-A206-AA40F443BECF}"/>
                  </c:ext>
                </c:extLst>
              </c15:ser>
            </c15:filteredScatterSeries>
          </c:ext>
        </c:extLst>
      </c:scatterChart>
      <c:scatterChart>
        <c:scatterStyle val="lineMarker"/>
        <c:varyColors val="0"/>
        <c:dLbls>
          <c:showLegendKey val="0"/>
          <c:showVal val="0"/>
          <c:showCatName val="0"/>
          <c:showSerName val="0"/>
          <c:showPercent val="0"/>
          <c:showBubbleSize val="0"/>
        </c:dLbls>
        <c:axId val="394563584"/>
        <c:axId val="392402816"/>
        <c:extLst>
          <c:ext xmlns:c15="http://schemas.microsoft.com/office/drawing/2012/chart" uri="{02D57815-91ED-43cb-92C2-25804820EDAC}">
            <c15:filteredScatterSeries>
              <c15:ser>
                <c:idx val="1"/>
                <c:order val="1"/>
                <c:tx>
                  <c:strRef>
                    <c:extLst>
                      <c:ext uri="{02D57815-91ED-43cb-92C2-25804820EDAC}">
                        <c15:formulaRef>
                          <c15:sqref>Data!$D$6</c15:sqref>
                        </c15:formulaRef>
                      </c:ext>
                    </c:extLst>
                    <c:strCache>
                      <c:ptCount val="1"/>
                      <c:pt idx="0">
                        <c:v>Dry Pressure</c:v>
                      </c:pt>
                    </c:strCache>
                  </c:strRef>
                </c:tx>
                <c:spPr>
                  <a:ln w="25400">
                    <a:solidFill>
                      <a:srgbClr val="00B0F0"/>
                    </a:solidFill>
                    <a:prstDash val="sysDot"/>
                  </a:ln>
                </c:spPr>
                <c:marker>
                  <c:symbol val="none"/>
                </c:marker>
                <c:xVal>
                  <c:numRef>
                    <c:extLst>
                      <c:ext uri="{02D57815-91ED-43cb-92C2-25804820EDAC}">
                        <c15:formulaRef>
                          <c15:sqref>Data!$D$9:$D$897</c15:sqref>
                        </c15:formulaRef>
                      </c:ext>
                    </c:extLst>
                    <c:numCache>
                      <c:formatCode>General</c:formatCode>
                      <c:ptCount val="889"/>
                      <c:pt idx="170">
                        <c:v>0.22000000000002728</c:v>
                      </c:pt>
                      <c:pt idx="171">
                        <c:v>5.2200000000000273</c:v>
                      </c:pt>
                      <c:pt idx="172">
                        <c:v>5.2599999999999909</c:v>
                      </c:pt>
                      <c:pt idx="173">
                        <c:v>10.220000000000027</c:v>
                      </c:pt>
                      <c:pt idx="174">
                        <c:v>15.220000000000027</c:v>
                      </c:pt>
                      <c:pt idx="175">
                        <c:v>20.220000000000027</c:v>
                      </c:pt>
                      <c:pt idx="176">
                        <c:v>25.220000000000027</c:v>
                      </c:pt>
                      <c:pt idx="177">
                        <c:v>29.110000000000014</c:v>
                      </c:pt>
                      <c:pt idx="178">
                        <c:v>34.110000000000014</c:v>
                      </c:pt>
                      <c:pt idx="179">
                        <c:v>39.110000000000014</c:v>
                      </c:pt>
                      <c:pt idx="180">
                        <c:v>44.110000000000014</c:v>
                      </c:pt>
                      <c:pt idx="181">
                        <c:v>45.309999999999945</c:v>
                      </c:pt>
                      <c:pt idx="182">
                        <c:v>50.309999999999945</c:v>
                      </c:pt>
                      <c:pt idx="183">
                        <c:v>54.330000000000041</c:v>
                      </c:pt>
                      <c:pt idx="184">
                        <c:v>59.330000000000041</c:v>
                      </c:pt>
                      <c:pt idx="185">
                        <c:v>61.730000000000018</c:v>
                      </c:pt>
                      <c:pt idx="186">
                        <c:v>66.730000000000018</c:v>
                      </c:pt>
                      <c:pt idx="187">
                        <c:v>67.049999999999955</c:v>
                      </c:pt>
                      <c:pt idx="188">
                        <c:v>71.169999999999959</c:v>
                      </c:pt>
                      <c:pt idx="189">
                        <c:v>74.07000000000005</c:v>
                      </c:pt>
                      <c:pt idx="190">
                        <c:v>77.669999999999959</c:v>
                      </c:pt>
                      <c:pt idx="191">
                        <c:v>79.42999999999995</c:v>
                      </c:pt>
                      <c:pt idx="192">
                        <c:v>80.950000000000045</c:v>
                      </c:pt>
                      <c:pt idx="193">
                        <c:v>83.049999999999955</c:v>
                      </c:pt>
                      <c:pt idx="194">
                        <c:v>84.190000000000055</c:v>
                      </c:pt>
                      <c:pt idx="195">
                        <c:v>85.690000000000055</c:v>
                      </c:pt>
                      <c:pt idx="196">
                        <c:v>86.590000000000032</c:v>
                      </c:pt>
                      <c:pt idx="197">
                        <c:v>87.269999999999982</c:v>
                      </c:pt>
                      <c:pt idx="198">
                        <c:v>88.230000000000018</c:v>
                      </c:pt>
                      <c:pt idx="199">
                        <c:v>88.789999999999964</c:v>
                      </c:pt>
                      <c:pt idx="200">
                        <c:v>89.590000000000032</c:v>
                      </c:pt>
                      <c:pt idx="201">
                        <c:v>89.970000000000027</c:v>
                      </c:pt>
                      <c:pt idx="202">
                        <c:v>90.330000000000041</c:v>
                      </c:pt>
                      <c:pt idx="203">
                        <c:v>90.809999999999945</c:v>
                      </c:pt>
                      <c:pt idx="204">
                        <c:v>91.110000000000014</c:v>
                      </c:pt>
                      <c:pt idx="205">
                        <c:v>91.37</c:v>
                      </c:pt>
                      <c:pt idx="206">
                        <c:v>91.710000000000036</c:v>
                      </c:pt>
                      <c:pt idx="207">
                        <c:v>91.909999999999968</c:v>
                      </c:pt>
                      <c:pt idx="208">
                        <c:v>92.090000000000032</c:v>
                      </c:pt>
                      <c:pt idx="209">
                        <c:v>92.210000000000036</c:v>
                      </c:pt>
                      <c:pt idx="210">
                        <c:v>92.230000000000018</c:v>
                      </c:pt>
                      <c:pt idx="211">
                        <c:v>92.25</c:v>
                      </c:pt>
                      <c:pt idx="212">
                        <c:v>92.269999999999982</c:v>
                      </c:pt>
                      <c:pt idx="213">
                        <c:v>92.289999999999964</c:v>
                      </c:pt>
                      <c:pt idx="214">
                        <c:v>92.309999999999945</c:v>
                      </c:pt>
                      <c:pt idx="215">
                        <c:v>92.330000000000041</c:v>
                      </c:pt>
                      <c:pt idx="216">
                        <c:v>92.350000000000023</c:v>
                      </c:pt>
                      <c:pt idx="217">
                        <c:v>92.37</c:v>
                      </c:pt>
                      <c:pt idx="218">
                        <c:v>92.389999999999986</c:v>
                      </c:pt>
                      <c:pt idx="219">
                        <c:v>92.409999999999968</c:v>
                      </c:pt>
                      <c:pt idx="220">
                        <c:v>92.42999999999995</c:v>
                      </c:pt>
                      <c:pt idx="221">
                        <c:v>92.450000000000045</c:v>
                      </c:pt>
                      <c:pt idx="222">
                        <c:v>92.529999999999973</c:v>
                      </c:pt>
                      <c:pt idx="223">
                        <c:v>92.559999999999945</c:v>
                      </c:pt>
                      <c:pt idx="224">
                        <c:v>97.559999999999945</c:v>
                      </c:pt>
                      <c:pt idx="225">
                        <c:v>102.55999999999995</c:v>
                      </c:pt>
                      <c:pt idx="226">
                        <c:v>107.55999999999995</c:v>
                      </c:pt>
                      <c:pt idx="227">
                        <c:v>109.27999999999997</c:v>
                      </c:pt>
                      <c:pt idx="228">
                        <c:v>114.27999999999997</c:v>
                      </c:pt>
                      <c:pt idx="229">
                        <c:v>119.27999999999997</c:v>
                      </c:pt>
                      <c:pt idx="230">
                        <c:v>124.27999999999997</c:v>
                      </c:pt>
                      <c:pt idx="231">
                        <c:v>129.27999999999997</c:v>
                      </c:pt>
                      <c:pt idx="232">
                        <c:v>129.32000000000005</c:v>
                      </c:pt>
                      <c:pt idx="233">
                        <c:v>134.27999999999997</c:v>
                      </c:pt>
                      <c:pt idx="234">
                        <c:v>139.27999999999997</c:v>
                      </c:pt>
                      <c:pt idx="235">
                        <c:v>139.42999999999995</c:v>
                      </c:pt>
                    </c:numCache>
                  </c:numRef>
                </c:xVal>
                <c:yVal>
                  <c:numRef>
                    <c:extLst>
                      <c:ext uri="{02D57815-91ED-43cb-92C2-25804820EDAC}">
                        <c15:formulaRef>
                          <c15:sqref>Data!$C$9:$C$897</c15:sqref>
                        </c15:formulaRef>
                      </c:ext>
                    </c:extLst>
                    <c:numCache>
                      <c:formatCode>General</c:formatCode>
                      <c:ptCount val="889"/>
                      <c:pt idx="170">
                        <c:v>0.65517241379310343</c:v>
                      </c:pt>
                      <c:pt idx="171">
                        <c:v>0.66896551724137931</c:v>
                      </c:pt>
                      <c:pt idx="172">
                        <c:v>0.66896551724137931</c:v>
                      </c:pt>
                      <c:pt idx="173">
                        <c:v>0.67586206896551726</c:v>
                      </c:pt>
                      <c:pt idx="174">
                        <c:v>0.67586206896551726</c:v>
                      </c:pt>
                      <c:pt idx="175">
                        <c:v>0.68965517241379315</c:v>
                      </c:pt>
                      <c:pt idx="176">
                        <c:v>0.69655172413793109</c:v>
                      </c:pt>
                      <c:pt idx="177">
                        <c:v>0.71034482758620698</c:v>
                      </c:pt>
                      <c:pt idx="178">
                        <c:v>0.71724137931034493</c:v>
                      </c:pt>
                      <c:pt idx="179">
                        <c:v>0.73103448275862082</c:v>
                      </c:pt>
                      <c:pt idx="180">
                        <c:v>0.73793103448275854</c:v>
                      </c:pt>
                      <c:pt idx="181">
                        <c:v>0.7448275862068966</c:v>
                      </c:pt>
                      <c:pt idx="182">
                        <c:v>0.75862068965517238</c:v>
                      </c:pt>
                      <c:pt idx="183">
                        <c:v>0.77931034482758621</c:v>
                      </c:pt>
                      <c:pt idx="184">
                        <c:v>0.8</c:v>
                      </c:pt>
                      <c:pt idx="185">
                        <c:v>0.81379310344827593</c:v>
                      </c:pt>
                      <c:pt idx="186">
                        <c:v>0.84137931034482749</c:v>
                      </c:pt>
                      <c:pt idx="187">
                        <c:v>0.84137931034482749</c:v>
                      </c:pt>
                      <c:pt idx="188">
                        <c:v>0.87586206896551722</c:v>
                      </c:pt>
                      <c:pt idx="189">
                        <c:v>0.91034482758620683</c:v>
                      </c:pt>
                      <c:pt idx="190">
                        <c:v>0.95862068965517255</c:v>
                      </c:pt>
                      <c:pt idx="191">
                        <c:v>0.98620689655172422</c:v>
                      </c:pt>
                      <c:pt idx="192">
                        <c:v>1.0206896551724138</c:v>
                      </c:pt>
                      <c:pt idx="193">
                        <c:v>1.0689655172413792</c:v>
                      </c:pt>
                      <c:pt idx="194">
                        <c:v>1.0965517241379312</c:v>
                      </c:pt>
                      <c:pt idx="195">
                        <c:v>1.1517241379310343</c:v>
                      </c:pt>
                      <c:pt idx="196">
                        <c:v>1.1862068965517241</c:v>
                      </c:pt>
                      <c:pt idx="197">
                        <c:v>1.2137931034482756</c:v>
                      </c:pt>
                      <c:pt idx="198">
                        <c:v>1.2689655172413794</c:v>
                      </c:pt>
                      <c:pt idx="199">
                        <c:v>1.3034482758620691</c:v>
                      </c:pt>
                      <c:pt idx="200">
                        <c:v>1.3655172413793104</c:v>
                      </c:pt>
                      <c:pt idx="201">
                        <c:v>1.4068965517241381</c:v>
                      </c:pt>
                      <c:pt idx="202">
                        <c:v>1.4413793103448278</c:v>
                      </c:pt>
                      <c:pt idx="203">
                        <c:v>1.5034482758620691</c:v>
                      </c:pt>
                      <c:pt idx="204">
                        <c:v>1.5517241379310347</c:v>
                      </c:pt>
                      <c:pt idx="205">
                        <c:v>1.5999999999999999</c:v>
                      </c:pt>
                      <c:pt idx="206">
                        <c:v>1.6758620689655173</c:v>
                      </c:pt>
                      <c:pt idx="207">
                        <c:v>1.7517241379310347</c:v>
                      </c:pt>
                      <c:pt idx="208">
                        <c:v>1.8689655172413793</c:v>
                      </c:pt>
                      <c:pt idx="209">
                        <c:v>3.4482758620689655E-2</c:v>
                      </c:pt>
                      <c:pt idx="210">
                        <c:v>3.4482758620689655E-2</c:v>
                      </c:pt>
                      <c:pt idx="211">
                        <c:v>3.4482758620689655E-2</c:v>
                      </c:pt>
                      <c:pt idx="212">
                        <c:v>3.4482758620689655E-2</c:v>
                      </c:pt>
                      <c:pt idx="213">
                        <c:v>2.7586206896551748E-2</c:v>
                      </c:pt>
                      <c:pt idx="214">
                        <c:v>3.4482758620689655E-2</c:v>
                      </c:pt>
                      <c:pt idx="215">
                        <c:v>3.4482758620689655E-2</c:v>
                      </c:pt>
                      <c:pt idx="216">
                        <c:v>3.4482758620689655E-2</c:v>
                      </c:pt>
                      <c:pt idx="217">
                        <c:v>3.4482758620689655E-2</c:v>
                      </c:pt>
                      <c:pt idx="218">
                        <c:v>2.7586206896551748E-2</c:v>
                      </c:pt>
                      <c:pt idx="219">
                        <c:v>3.4482758620689655E-2</c:v>
                      </c:pt>
                      <c:pt idx="220">
                        <c:v>2.7586206896551748E-2</c:v>
                      </c:pt>
                      <c:pt idx="221">
                        <c:v>3.4482758620689655E-2</c:v>
                      </c:pt>
                      <c:pt idx="222">
                        <c:v>2.7586206896551748E-2</c:v>
                      </c:pt>
                      <c:pt idx="223">
                        <c:v>2.7586206896551748E-2</c:v>
                      </c:pt>
                      <c:pt idx="224">
                        <c:v>2.7586206896551748E-2</c:v>
                      </c:pt>
                      <c:pt idx="225">
                        <c:v>2.7586206896551748E-2</c:v>
                      </c:pt>
                      <c:pt idx="226">
                        <c:v>3.4482758620689655E-2</c:v>
                      </c:pt>
                      <c:pt idx="227">
                        <c:v>2.7586206896551748E-2</c:v>
                      </c:pt>
                      <c:pt idx="228">
                        <c:v>2.7586206896551748E-2</c:v>
                      </c:pt>
                      <c:pt idx="229">
                        <c:v>3.4482758620689655E-2</c:v>
                      </c:pt>
                      <c:pt idx="230">
                        <c:v>3.4482758620689655E-2</c:v>
                      </c:pt>
                      <c:pt idx="231">
                        <c:v>3.4482758620689655E-2</c:v>
                      </c:pt>
                      <c:pt idx="232">
                        <c:v>3.4482758620689655E-2</c:v>
                      </c:pt>
                      <c:pt idx="233">
                        <c:v>3.4482758620689655E-2</c:v>
                      </c:pt>
                      <c:pt idx="234">
                        <c:v>3.4482758620689655E-2</c:v>
                      </c:pt>
                      <c:pt idx="235">
                        <c:v>3.4482758620689655E-2</c:v>
                      </c:pt>
                    </c:numCache>
                  </c:numRef>
                </c:yVal>
                <c:smooth val="0"/>
                <c:extLst>
                  <c:ext xmlns:c16="http://schemas.microsoft.com/office/drawing/2014/chart" uri="{C3380CC4-5D6E-409C-BE32-E72D297353CC}">
                    <c16:uniqueId val="{00000005-ED69-4A8E-A206-AA40F443BECF}"/>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Data!$I$6</c15:sqref>
                        </c15:formulaRef>
                      </c:ext>
                    </c:extLst>
                    <c:strCache>
                      <c:ptCount val="1"/>
                      <c:pt idx="0">
                        <c:v>Slurry Pressure</c:v>
                      </c:pt>
                    </c:strCache>
                  </c:strRef>
                </c:tx>
                <c:spPr>
                  <a:ln w="25400">
                    <a:solidFill>
                      <a:schemeClr val="accent6">
                        <a:lumMod val="75000"/>
                      </a:schemeClr>
                    </a:solidFill>
                    <a:prstDash val="sysDot"/>
                  </a:ln>
                </c:spPr>
                <c:marker>
                  <c:symbol val="none"/>
                </c:marker>
                <c:xVal>
                  <c:numRef>
                    <c:extLst xmlns:c15="http://schemas.microsoft.com/office/drawing/2012/chart">
                      <c:ext xmlns:c15="http://schemas.microsoft.com/office/drawing/2012/chart" uri="{02D57815-91ED-43cb-92C2-25804820EDAC}">
                        <c15:formulaRef>
                          <c15:sqref>Data!$I$9:$I$408</c15:sqref>
                        </c15:formulaRef>
                      </c:ext>
                    </c:extLst>
                    <c:numCache>
                      <c:formatCode>General</c:formatCode>
                      <c:ptCount val="400"/>
                      <c:pt idx="131">
                        <c:v>13.779999999999973</c:v>
                      </c:pt>
                      <c:pt idx="132">
                        <c:v>18.779999999999973</c:v>
                      </c:pt>
                      <c:pt idx="133">
                        <c:v>23.779999999999973</c:v>
                      </c:pt>
                      <c:pt idx="134">
                        <c:v>28.779999999999973</c:v>
                      </c:pt>
                      <c:pt idx="135">
                        <c:v>45.019999999999982</c:v>
                      </c:pt>
                      <c:pt idx="136">
                        <c:v>50.019999999999982</c:v>
                      </c:pt>
                      <c:pt idx="137">
                        <c:v>55.019999999999982</c:v>
                      </c:pt>
                      <c:pt idx="138">
                        <c:v>60.019999999999982</c:v>
                      </c:pt>
                      <c:pt idx="139">
                        <c:v>61.419999999999959</c:v>
                      </c:pt>
                      <c:pt idx="140">
                        <c:v>66.419999999999959</c:v>
                      </c:pt>
                      <c:pt idx="141">
                        <c:v>71.419999999999959</c:v>
                      </c:pt>
                      <c:pt idx="142">
                        <c:v>76.419999999999959</c:v>
                      </c:pt>
                      <c:pt idx="143">
                        <c:v>81.419999999999959</c:v>
                      </c:pt>
                      <c:pt idx="144">
                        <c:v>86.419999999999959</c:v>
                      </c:pt>
                      <c:pt idx="145">
                        <c:v>87.919999999999959</c:v>
                      </c:pt>
                      <c:pt idx="146">
                        <c:v>92.919999999999959</c:v>
                      </c:pt>
                      <c:pt idx="147">
                        <c:v>97.919999999999959</c:v>
                      </c:pt>
                      <c:pt idx="148">
                        <c:v>98.440000000000055</c:v>
                      </c:pt>
                      <c:pt idx="149">
                        <c:v>103.44000000000005</c:v>
                      </c:pt>
                      <c:pt idx="150">
                        <c:v>108.44000000000005</c:v>
                      </c:pt>
                      <c:pt idx="151">
                        <c:v>113.44000000000005</c:v>
                      </c:pt>
                      <c:pt idx="152">
                        <c:v>116.94000000000005</c:v>
                      </c:pt>
                      <c:pt idx="153">
                        <c:v>121.94000000000005</c:v>
                      </c:pt>
                      <c:pt idx="154">
                        <c:v>126.65999999999997</c:v>
                      </c:pt>
                      <c:pt idx="155">
                        <c:v>131.65999999999997</c:v>
                      </c:pt>
                      <c:pt idx="156">
                        <c:v>136.65999999999997</c:v>
                      </c:pt>
                      <c:pt idx="157">
                        <c:v>139.08000000000004</c:v>
                      </c:pt>
                      <c:pt idx="158">
                        <c:v>144.08000000000004</c:v>
                      </c:pt>
                      <c:pt idx="159">
                        <c:v>148.26</c:v>
                      </c:pt>
                      <c:pt idx="160">
                        <c:v>153.26</c:v>
                      </c:pt>
                      <c:pt idx="161">
                        <c:v>158.26</c:v>
                      </c:pt>
                      <c:pt idx="162">
                        <c:v>159.15999999999997</c:v>
                      </c:pt>
                      <c:pt idx="163">
                        <c:v>163.88</c:v>
                      </c:pt>
                      <c:pt idx="164">
                        <c:v>168.88</c:v>
                      </c:pt>
                      <c:pt idx="165">
                        <c:v>173.03999999999996</c:v>
                      </c:pt>
                      <c:pt idx="166">
                        <c:v>177.51999999999998</c:v>
                      </c:pt>
                      <c:pt idx="167">
                        <c:v>181.24</c:v>
                      </c:pt>
                      <c:pt idx="168">
                        <c:v>186.24</c:v>
                      </c:pt>
                      <c:pt idx="169">
                        <c:v>188.17999999999995</c:v>
                      </c:pt>
                      <c:pt idx="170">
                        <c:v>191.08000000000004</c:v>
                      </c:pt>
                      <c:pt idx="171">
                        <c:v>196.08000000000004</c:v>
                      </c:pt>
                      <c:pt idx="172">
                        <c:v>198.58000000000004</c:v>
                      </c:pt>
                      <c:pt idx="173">
                        <c:v>202.98000000000002</c:v>
                      </c:pt>
                      <c:pt idx="174">
                        <c:v>205.29999999999995</c:v>
                      </c:pt>
                      <c:pt idx="175">
                        <c:v>209</c:v>
                      </c:pt>
                      <c:pt idx="176">
                        <c:v>210.98000000000002</c:v>
                      </c:pt>
                      <c:pt idx="177">
                        <c:v>212.82000000000005</c:v>
                      </c:pt>
                      <c:pt idx="178">
                        <c:v>215.70000000000005</c:v>
                      </c:pt>
                      <c:pt idx="179">
                        <c:v>217.46000000000004</c:v>
                      </c:pt>
                      <c:pt idx="180">
                        <c:v>220.01999999999998</c:v>
                      </c:pt>
                      <c:pt idx="181">
                        <c:v>221.70000000000005</c:v>
                      </c:pt>
                      <c:pt idx="182">
                        <c:v>223.86</c:v>
                      </c:pt>
                      <c:pt idx="183">
                        <c:v>225.55999999999995</c:v>
                      </c:pt>
                      <c:pt idx="184">
                        <c:v>227.86</c:v>
                      </c:pt>
                      <c:pt idx="185">
                        <c:v>229.41999999999996</c:v>
                      </c:pt>
                      <c:pt idx="186">
                        <c:v>231.79999999999995</c:v>
                      </c:pt>
                      <c:pt idx="187">
                        <c:v>233.48000000000002</c:v>
                      </c:pt>
                      <c:pt idx="188">
                        <c:v>235</c:v>
                      </c:pt>
                      <c:pt idx="189">
                        <c:v>237.10000000000002</c:v>
                      </c:pt>
                      <c:pt idx="190">
                        <c:v>238.65999999999997</c:v>
                      </c:pt>
                      <c:pt idx="191">
                        <c:v>239.98000000000002</c:v>
                      </c:pt>
                      <c:pt idx="192">
                        <c:v>242.01999999999998</c:v>
                      </c:pt>
                      <c:pt idx="193">
                        <c:v>243.22000000000003</c:v>
                      </c:pt>
                      <c:pt idx="194">
                        <c:v>245.5</c:v>
                      </c:pt>
                      <c:pt idx="195">
                        <c:v>246.67999999999995</c:v>
                      </c:pt>
                      <c:pt idx="196">
                        <c:v>248.48000000000002</c:v>
                      </c:pt>
                      <c:pt idx="197">
                        <c:v>249.55999999999995</c:v>
                      </c:pt>
                      <c:pt idx="198">
                        <c:v>250.38</c:v>
                      </c:pt>
                      <c:pt idx="199">
                        <c:v>251.88</c:v>
                      </c:pt>
                      <c:pt idx="200">
                        <c:v>252.89999999999998</c:v>
                      </c:pt>
                      <c:pt idx="201">
                        <c:v>254.34000000000003</c:v>
                      </c:pt>
                      <c:pt idx="202">
                        <c:v>255.22000000000003</c:v>
                      </c:pt>
                      <c:pt idx="203">
                        <c:v>256.10000000000002</c:v>
                      </c:pt>
                      <c:pt idx="204">
                        <c:v>257.17999999999995</c:v>
                      </c:pt>
                      <c:pt idx="205">
                        <c:v>257.89999999999998</c:v>
                      </c:pt>
                      <c:pt idx="206">
                        <c:v>258.86</c:v>
                      </c:pt>
                      <c:pt idx="207">
                        <c:v>259.38</c:v>
                      </c:pt>
                      <c:pt idx="208">
                        <c:v>259.89999999999998</c:v>
                      </c:pt>
                      <c:pt idx="209">
                        <c:v>260.65999999999997</c:v>
                      </c:pt>
                      <c:pt idx="210">
                        <c:v>261.14</c:v>
                      </c:pt>
                      <c:pt idx="211">
                        <c:v>261.62</c:v>
                      </c:pt>
                      <c:pt idx="212">
                        <c:v>262.29999999999995</c:v>
                      </c:pt>
                      <c:pt idx="213">
                        <c:v>262.67999999999995</c:v>
                      </c:pt>
                      <c:pt idx="214">
                        <c:v>263.08000000000004</c:v>
                      </c:pt>
                      <c:pt idx="215">
                        <c:v>263.62</c:v>
                      </c:pt>
                      <c:pt idx="216">
                        <c:v>263.98</c:v>
                      </c:pt>
                      <c:pt idx="217">
                        <c:v>264.48</c:v>
                      </c:pt>
                      <c:pt idx="218">
                        <c:v>264.79999999999995</c:v>
                      </c:pt>
                      <c:pt idx="219">
                        <c:v>265.14</c:v>
                      </c:pt>
                      <c:pt idx="220">
                        <c:v>265.60000000000002</c:v>
                      </c:pt>
                      <c:pt idx="221">
                        <c:v>265.88</c:v>
                      </c:pt>
                      <c:pt idx="222">
                        <c:v>266.36</c:v>
                      </c:pt>
                      <c:pt idx="223">
                        <c:v>266.67999999999995</c:v>
                      </c:pt>
                      <c:pt idx="224">
                        <c:v>267.15999999999997</c:v>
                      </c:pt>
                      <c:pt idx="225">
                        <c:v>267.5</c:v>
                      </c:pt>
                      <c:pt idx="226">
                        <c:v>267.86</c:v>
                      </c:pt>
                      <c:pt idx="227">
                        <c:v>268.41999999999996</c:v>
                      </c:pt>
                      <c:pt idx="228">
                        <c:v>268.79999999999995</c:v>
                      </c:pt>
                      <c:pt idx="229">
                        <c:v>269.17999999999995</c:v>
                      </c:pt>
                      <c:pt idx="230">
                        <c:v>269.84000000000003</c:v>
                      </c:pt>
                      <c:pt idx="231">
                        <c:v>270.32000000000005</c:v>
                      </c:pt>
                      <c:pt idx="232">
                        <c:v>270.70000000000005</c:v>
                      </c:pt>
                      <c:pt idx="233">
                        <c:v>271.24</c:v>
                      </c:pt>
                      <c:pt idx="234">
                        <c:v>271.58000000000004</c:v>
                      </c:pt>
                      <c:pt idx="235">
                        <c:v>271.91999999999996</c:v>
                      </c:pt>
                      <c:pt idx="236">
                        <c:v>272.39999999999998</c:v>
                      </c:pt>
                      <c:pt idx="237">
                        <c:v>272.72000000000003</c:v>
                      </c:pt>
                      <c:pt idx="238">
                        <c:v>273.17999999999995</c:v>
                      </c:pt>
                      <c:pt idx="239">
                        <c:v>273.48</c:v>
                      </c:pt>
                      <c:pt idx="240">
                        <c:v>273.79999999999995</c:v>
                      </c:pt>
                      <c:pt idx="241">
                        <c:v>274.20000000000005</c:v>
                      </c:pt>
                      <c:pt idx="242">
                        <c:v>274.48</c:v>
                      </c:pt>
                      <c:pt idx="243">
                        <c:v>274.77999999999997</c:v>
                      </c:pt>
                      <c:pt idx="244">
                        <c:v>275.15999999999997</c:v>
                      </c:pt>
                      <c:pt idx="245">
                        <c:v>275.38</c:v>
                      </c:pt>
                      <c:pt idx="246">
                        <c:v>275.76</c:v>
                      </c:pt>
                      <c:pt idx="247">
                        <c:v>276.03999999999996</c:v>
                      </c:pt>
                      <c:pt idx="248">
                        <c:v>276.39999999999998</c:v>
                      </c:pt>
                      <c:pt idx="249">
                        <c:v>276.64</c:v>
                      </c:pt>
                      <c:pt idx="250">
                        <c:v>276.88</c:v>
                      </c:pt>
                      <c:pt idx="251">
                        <c:v>277.14</c:v>
                      </c:pt>
                      <c:pt idx="252">
                        <c:v>277.5</c:v>
                      </c:pt>
                      <c:pt idx="253">
                        <c:v>277.72000000000003</c:v>
                      </c:pt>
                      <c:pt idx="254">
                        <c:v>277.96000000000004</c:v>
                      </c:pt>
                      <c:pt idx="255">
                        <c:v>278.20000000000005</c:v>
                      </c:pt>
                      <c:pt idx="256">
                        <c:v>278.53999999999996</c:v>
                      </c:pt>
                      <c:pt idx="257">
                        <c:v>278.76</c:v>
                      </c:pt>
                      <c:pt idx="258">
                        <c:v>278.98</c:v>
                      </c:pt>
                      <c:pt idx="259">
                        <c:v>279.32000000000005</c:v>
                      </c:pt>
                      <c:pt idx="260">
                        <c:v>279.55999999999995</c:v>
                      </c:pt>
                      <c:pt idx="261">
                        <c:v>279.77999999999997</c:v>
                      </c:pt>
                      <c:pt idx="262">
                        <c:v>279.96000000000004</c:v>
                      </c:pt>
                      <c:pt idx="263">
                        <c:v>280.24</c:v>
                      </c:pt>
                      <c:pt idx="264">
                        <c:v>280.44000000000005</c:v>
                      </c:pt>
                      <c:pt idx="265">
                        <c:v>280.65999999999997</c:v>
                      </c:pt>
                      <c:pt idx="266">
                        <c:v>280.88</c:v>
                      </c:pt>
                      <c:pt idx="267">
                        <c:v>281.15999999999997</c:v>
                      </c:pt>
                      <c:pt idx="268">
                        <c:v>281.34000000000003</c:v>
                      </c:pt>
                      <c:pt idx="269">
                        <c:v>281.53999999999996</c:v>
                      </c:pt>
                      <c:pt idx="270">
                        <c:v>281.82000000000005</c:v>
                      </c:pt>
                      <c:pt idx="271">
                        <c:v>282.02</c:v>
                      </c:pt>
                      <c:pt idx="272">
                        <c:v>282.22000000000003</c:v>
                      </c:pt>
                      <c:pt idx="273">
                        <c:v>282.41999999999996</c:v>
                      </c:pt>
                      <c:pt idx="274">
                        <c:v>282.72000000000003</c:v>
                      </c:pt>
                      <c:pt idx="275">
                        <c:v>282.94000000000005</c:v>
                      </c:pt>
                      <c:pt idx="276">
                        <c:v>283.14</c:v>
                      </c:pt>
                      <c:pt idx="277">
                        <c:v>283.44000000000005</c:v>
                      </c:pt>
                      <c:pt idx="278">
                        <c:v>283.64</c:v>
                      </c:pt>
                      <c:pt idx="279">
                        <c:v>283.82000000000005</c:v>
                      </c:pt>
                      <c:pt idx="280">
                        <c:v>284.02</c:v>
                      </c:pt>
                      <c:pt idx="281">
                        <c:v>284.29999999999995</c:v>
                      </c:pt>
                      <c:pt idx="282">
                        <c:v>284.5</c:v>
                      </c:pt>
                      <c:pt idx="283">
                        <c:v>284.67999999999995</c:v>
                      </c:pt>
                      <c:pt idx="284">
                        <c:v>284.88</c:v>
                      </c:pt>
                      <c:pt idx="285">
                        <c:v>285.12</c:v>
                      </c:pt>
                      <c:pt idx="286">
                        <c:v>285.27999999999997</c:v>
                      </c:pt>
                      <c:pt idx="287">
                        <c:v>285.44000000000005</c:v>
                      </c:pt>
                      <c:pt idx="288">
                        <c:v>285.60000000000002</c:v>
                      </c:pt>
                      <c:pt idx="289">
                        <c:v>285.84000000000003</c:v>
                      </c:pt>
                      <c:pt idx="290">
                        <c:v>285.98</c:v>
                      </c:pt>
                      <c:pt idx="291">
                        <c:v>286.14</c:v>
                      </c:pt>
                      <c:pt idx="292">
                        <c:v>286.26</c:v>
                      </c:pt>
                      <c:pt idx="293">
                        <c:v>286.38</c:v>
                      </c:pt>
                      <c:pt idx="294">
                        <c:v>286.55999999999995</c:v>
                      </c:pt>
                      <c:pt idx="295">
                        <c:v>286.67999999999995</c:v>
                      </c:pt>
                      <c:pt idx="296">
                        <c:v>286.79999999999995</c:v>
                      </c:pt>
                      <c:pt idx="297">
                        <c:v>286.91999999999996</c:v>
                      </c:pt>
                      <c:pt idx="298">
                        <c:v>287.03999999999996</c:v>
                      </c:pt>
                      <c:pt idx="299">
                        <c:v>287.14</c:v>
                      </c:pt>
                      <c:pt idx="300">
                        <c:v>287.24</c:v>
                      </c:pt>
                      <c:pt idx="301">
                        <c:v>287.34000000000003</c:v>
                      </c:pt>
                      <c:pt idx="302">
                        <c:v>287.41999999999996</c:v>
                      </c:pt>
                      <c:pt idx="303">
                        <c:v>287.5</c:v>
                      </c:pt>
                      <c:pt idx="304">
                        <c:v>287.62</c:v>
                      </c:pt>
                      <c:pt idx="305">
                        <c:v>287.70000000000005</c:v>
                      </c:pt>
                      <c:pt idx="306">
                        <c:v>287.77999999999997</c:v>
                      </c:pt>
                      <c:pt idx="307">
                        <c:v>287.86</c:v>
                      </c:pt>
                      <c:pt idx="308">
                        <c:v>287.89999999999998</c:v>
                      </c:pt>
                      <c:pt idx="309">
                        <c:v>287.98</c:v>
                      </c:pt>
                      <c:pt idx="310">
                        <c:v>288.05999999999995</c:v>
                      </c:pt>
                      <c:pt idx="311">
                        <c:v>288.10000000000002</c:v>
                      </c:pt>
                      <c:pt idx="312">
                        <c:v>288.17999999999995</c:v>
                      </c:pt>
                      <c:pt idx="313">
                        <c:v>288.22000000000003</c:v>
                      </c:pt>
                      <c:pt idx="314">
                        <c:v>288.29999999999995</c:v>
                      </c:pt>
                      <c:pt idx="315">
                        <c:v>288.34000000000003</c:v>
                      </c:pt>
                      <c:pt idx="316">
                        <c:v>288.41999999999996</c:v>
                      </c:pt>
                      <c:pt idx="317">
                        <c:v>288.46000000000004</c:v>
                      </c:pt>
                      <c:pt idx="318">
                        <c:v>288.53999999999996</c:v>
                      </c:pt>
                      <c:pt idx="319">
                        <c:v>288.58000000000004</c:v>
                      </c:pt>
                      <c:pt idx="320">
                        <c:v>288.62</c:v>
                      </c:pt>
                      <c:pt idx="321">
                        <c:v>288.70000000000005</c:v>
                      </c:pt>
                      <c:pt idx="322">
                        <c:v>288.74</c:v>
                      </c:pt>
                      <c:pt idx="323">
                        <c:v>288.77999999999997</c:v>
                      </c:pt>
                      <c:pt idx="324">
                        <c:v>288.86</c:v>
                      </c:pt>
                      <c:pt idx="325">
                        <c:v>288.88</c:v>
                      </c:pt>
                      <c:pt idx="326">
                        <c:v>288.91999999999996</c:v>
                      </c:pt>
                      <c:pt idx="327">
                        <c:v>288.96000000000004</c:v>
                      </c:pt>
                      <c:pt idx="328">
                        <c:v>289</c:v>
                      </c:pt>
                      <c:pt idx="329">
                        <c:v>289.02</c:v>
                      </c:pt>
                      <c:pt idx="330">
                        <c:v>289.05999999999995</c:v>
                      </c:pt>
                      <c:pt idx="331">
                        <c:v>289.08000000000004</c:v>
                      </c:pt>
                      <c:pt idx="332">
                        <c:v>289.10000000000002</c:v>
                      </c:pt>
                      <c:pt idx="333">
                        <c:v>289.12</c:v>
                      </c:pt>
                      <c:pt idx="334">
                        <c:v>289.14</c:v>
                      </c:pt>
                      <c:pt idx="335">
                        <c:v>289.17999999999995</c:v>
                      </c:pt>
                      <c:pt idx="336">
                        <c:v>289.20000000000005</c:v>
                      </c:pt>
                      <c:pt idx="337">
                        <c:v>289.22000000000003</c:v>
                      </c:pt>
                      <c:pt idx="338">
                        <c:v>289.24</c:v>
                      </c:pt>
                      <c:pt idx="339">
                        <c:v>289.26</c:v>
                      </c:pt>
                      <c:pt idx="340">
                        <c:v>289.29999999999995</c:v>
                      </c:pt>
                      <c:pt idx="341">
                        <c:v>289.34000000000003</c:v>
                      </c:pt>
                      <c:pt idx="342">
                        <c:v>289.39999999999998</c:v>
                      </c:pt>
                      <c:pt idx="343">
                        <c:v>289.5</c:v>
                      </c:pt>
                      <c:pt idx="344">
                        <c:v>289.77999999999997</c:v>
                      </c:pt>
                      <c:pt idx="345">
                        <c:v>289.80999999999995</c:v>
                      </c:pt>
                      <c:pt idx="346">
                        <c:v>294.79999999999995</c:v>
                      </c:pt>
                      <c:pt idx="347">
                        <c:v>298.64999999999998</c:v>
                      </c:pt>
                    </c:numCache>
                  </c:numRef>
                </c:xVal>
                <c:yVal>
                  <c:numRef>
                    <c:extLst xmlns:c15="http://schemas.microsoft.com/office/drawing/2012/chart">
                      <c:ext xmlns:c15="http://schemas.microsoft.com/office/drawing/2012/chart" uri="{02D57815-91ED-43cb-92C2-25804820EDAC}">
                        <c15:formulaRef>
                          <c15:sqref>Data!$H$9:$H$408</c15:sqref>
                        </c15:formulaRef>
                      </c:ext>
                    </c:extLst>
                    <c:numCache>
                      <c:formatCode>General</c:formatCode>
                      <c:ptCount val="400"/>
                      <c:pt idx="131">
                        <c:v>5.63448275862069</c:v>
                      </c:pt>
                      <c:pt idx="132">
                        <c:v>5.6689655172413795</c:v>
                      </c:pt>
                      <c:pt idx="133">
                        <c:v>5.6965517241379304</c:v>
                      </c:pt>
                      <c:pt idx="134">
                        <c:v>5.7310344827586199</c:v>
                      </c:pt>
                      <c:pt idx="135">
                        <c:v>5.8413793103448279</c:v>
                      </c:pt>
                      <c:pt idx="136">
                        <c:v>5.8827586206896552</c:v>
                      </c:pt>
                      <c:pt idx="137">
                        <c:v>5.9172413793103447</c:v>
                      </c:pt>
                      <c:pt idx="138">
                        <c:v>5.9586206896551719</c:v>
                      </c:pt>
                      <c:pt idx="139">
                        <c:v>5.9724137931034482</c:v>
                      </c:pt>
                      <c:pt idx="140">
                        <c:v>6.0137931034482763</c:v>
                      </c:pt>
                      <c:pt idx="141">
                        <c:v>6.0551724137931036</c:v>
                      </c:pt>
                      <c:pt idx="142">
                        <c:v>6.1034482758620694</c:v>
                      </c:pt>
                      <c:pt idx="143">
                        <c:v>6.1586206896551721</c:v>
                      </c:pt>
                      <c:pt idx="144">
                        <c:v>6.2068965517241379</c:v>
                      </c:pt>
                      <c:pt idx="145">
                        <c:v>6.2206896551724142</c:v>
                      </c:pt>
                      <c:pt idx="146">
                        <c:v>6.2758620689655169</c:v>
                      </c:pt>
                      <c:pt idx="147">
                        <c:v>6.3448275862068968</c:v>
                      </c:pt>
                      <c:pt idx="148">
                        <c:v>6.3448275862068968</c:v>
                      </c:pt>
                      <c:pt idx="149">
                        <c:v>6.4137931034482758</c:v>
                      </c:pt>
                      <c:pt idx="150">
                        <c:v>6.4758620689655171</c:v>
                      </c:pt>
                      <c:pt idx="151">
                        <c:v>6.5517241379310347</c:v>
                      </c:pt>
                      <c:pt idx="152">
                        <c:v>6.6000000000000005</c:v>
                      </c:pt>
                      <c:pt idx="153">
                        <c:v>6.682758620689655</c:v>
                      </c:pt>
                      <c:pt idx="154">
                        <c:v>6.751724137931034</c:v>
                      </c:pt>
                      <c:pt idx="155">
                        <c:v>6.8344827586206893</c:v>
                      </c:pt>
                      <c:pt idx="156">
                        <c:v>6.9241379310344824</c:v>
                      </c:pt>
                      <c:pt idx="157">
                        <c:v>6.9655172413793105</c:v>
                      </c:pt>
                      <c:pt idx="158">
                        <c:v>7.0620689655172404</c:v>
                      </c:pt>
                      <c:pt idx="159">
                        <c:v>7.1379310344827589</c:v>
                      </c:pt>
                      <c:pt idx="160">
                        <c:v>7.2482758620689651</c:v>
                      </c:pt>
                      <c:pt idx="161">
                        <c:v>7.3586206896551722</c:v>
                      </c:pt>
                      <c:pt idx="162">
                        <c:v>7.3724137931034477</c:v>
                      </c:pt>
                      <c:pt idx="163">
                        <c:v>7.4896551724137925</c:v>
                      </c:pt>
                      <c:pt idx="164">
                        <c:v>7.6206896551724137</c:v>
                      </c:pt>
                      <c:pt idx="165">
                        <c:v>7.7310344827586199</c:v>
                      </c:pt>
                      <c:pt idx="166">
                        <c:v>7.8620689655172402</c:v>
                      </c:pt>
                      <c:pt idx="167">
                        <c:v>7.9793103448275868</c:v>
                      </c:pt>
                      <c:pt idx="168">
                        <c:v>8.1448275862068975</c:v>
                      </c:pt>
                      <c:pt idx="169">
                        <c:v>8.206896551724137</c:v>
                      </c:pt>
                      <c:pt idx="170">
                        <c:v>8.3172413793103459</c:v>
                      </c:pt>
                      <c:pt idx="171">
                        <c:v>8.5241379310344829</c:v>
                      </c:pt>
                      <c:pt idx="172">
                        <c:v>8.6275862068965523</c:v>
                      </c:pt>
                      <c:pt idx="173">
                        <c:v>8.8344827586206911</c:v>
                      </c:pt>
                      <c:pt idx="174">
                        <c:v>8.9586206896551737</c:v>
                      </c:pt>
                      <c:pt idx="175">
                        <c:v>9.1655172413793107</c:v>
                      </c:pt>
                      <c:pt idx="176">
                        <c:v>9.2827586206896573</c:v>
                      </c:pt>
                      <c:pt idx="177">
                        <c:v>9.3931034482758626</c:v>
                      </c:pt>
                      <c:pt idx="178">
                        <c:v>9.5862068965517242</c:v>
                      </c:pt>
                      <c:pt idx="179">
                        <c:v>9.7034482758620708</c:v>
                      </c:pt>
                      <c:pt idx="180">
                        <c:v>9.8827586206896552</c:v>
                      </c:pt>
                      <c:pt idx="181">
                        <c:v>10.013793103448277</c:v>
                      </c:pt>
                      <c:pt idx="182">
                        <c:v>10.179310344827588</c:v>
                      </c:pt>
                      <c:pt idx="183">
                        <c:v>10.310344827586206</c:v>
                      </c:pt>
                      <c:pt idx="184">
                        <c:v>10.489655172413794</c:v>
                      </c:pt>
                      <c:pt idx="185">
                        <c:v>10.620689655172415</c:v>
                      </c:pt>
                      <c:pt idx="186">
                        <c:v>10.820689655172414</c:v>
                      </c:pt>
                      <c:pt idx="187">
                        <c:v>10.96551724137931</c:v>
                      </c:pt>
                      <c:pt idx="188">
                        <c:v>11.096551724137932</c:v>
                      </c:pt>
                      <c:pt idx="189">
                        <c:v>11.282758620689657</c:v>
                      </c:pt>
                      <c:pt idx="190">
                        <c:v>11.427586206896553</c:v>
                      </c:pt>
                      <c:pt idx="191">
                        <c:v>11.551724137931034</c:v>
                      </c:pt>
                      <c:pt idx="192">
                        <c:v>11.751724137931035</c:v>
                      </c:pt>
                      <c:pt idx="193">
                        <c:v>11.868965517241381</c:v>
                      </c:pt>
                      <c:pt idx="194">
                        <c:v>12.110344827586209</c:v>
                      </c:pt>
                      <c:pt idx="195">
                        <c:v>12.241379310344827</c:v>
                      </c:pt>
                      <c:pt idx="196">
                        <c:v>12.448275862068966</c:v>
                      </c:pt>
                      <c:pt idx="197">
                        <c:v>12.579310344827586</c:v>
                      </c:pt>
                      <c:pt idx="198">
                        <c:v>12.682758620689656</c:v>
                      </c:pt>
                      <c:pt idx="199">
                        <c:v>12.868965517241381</c:v>
                      </c:pt>
                      <c:pt idx="200">
                        <c:v>13.013793103448277</c:v>
                      </c:pt>
                      <c:pt idx="201">
                        <c:v>13.227586206896552</c:v>
                      </c:pt>
                      <c:pt idx="202">
                        <c:v>13.365517241379312</c:v>
                      </c:pt>
                      <c:pt idx="203">
                        <c:v>13.510344827586207</c:v>
                      </c:pt>
                      <c:pt idx="204">
                        <c:v>13.703448275862071</c:v>
                      </c:pt>
                      <c:pt idx="205">
                        <c:v>13.834482758620691</c:v>
                      </c:pt>
                      <c:pt idx="206">
                        <c:v>14.027586206896553</c:v>
                      </c:pt>
                      <c:pt idx="207">
                        <c:v>14.144827586206898</c:v>
                      </c:pt>
                      <c:pt idx="208">
                        <c:v>14.255172413793105</c:v>
                      </c:pt>
                      <c:pt idx="209">
                        <c:v>14.448275862068966</c:v>
                      </c:pt>
                      <c:pt idx="210">
                        <c:v>14.565517241379311</c:v>
                      </c:pt>
                      <c:pt idx="211">
                        <c:v>14.703448275862071</c:v>
                      </c:pt>
                      <c:pt idx="212">
                        <c:v>14.896551724137931</c:v>
                      </c:pt>
                      <c:pt idx="213">
                        <c:v>15.013793103448277</c:v>
                      </c:pt>
                      <c:pt idx="214">
                        <c:v>15.144827586206898</c:v>
                      </c:pt>
                      <c:pt idx="215">
                        <c:v>15.331034482758621</c:v>
                      </c:pt>
                      <c:pt idx="216">
                        <c:v>15.462068965517243</c:v>
                      </c:pt>
                      <c:pt idx="217">
                        <c:v>15.648275862068965</c:v>
                      </c:pt>
                      <c:pt idx="218">
                        <c:v>15.77241379310345</c:v>
                      </c:pt>
                      <c:pt idx="219">
                        <c:v>15.910344827586208</c:v>
                      </c:pt>
                      <c:pt idx="220">
                        <c:v>16.103448275862068</c:v>
                      </c:pt>
                      <c:pt idx="221">
                        <c:v>16.227586206896554</c:v>
                      </c:pt>
                      <c:pt idx="222">
                        <c:v>16.434482758620689</c:v>
                      </c:pt>
                      <c:pt idx="223">
                        <c:v>16.579310344827586</c:v>
                      </c:pt>
                      <c:pt idx="224">
                        <c:v>16.793103448275861</c:v>
                      </c:pt>
                      <c:pt idx="225">
                        <c:v>16.951724137931034</c:v>
                      </c:pt>
                      <c:pt idx="226">
                        <c:v>17.110344827586207</c:v>
                      </c:pt>
                      <c:pt idx="227">
                        <c:v>17.337931034482761</c:v>
                      </c:pt>
                      <c:pt idx="228">
                        <c:v>17.49655172413793</c:v>
                      </c:pt>
                      <c:pt idx="229">
                        <c:v>17.648275862068967</c:v>
                      </c:pt>
                      <c:pt idx="230">
                        <c:v>17.910344827586208</c:v>
                      </c:pt>
                      <c:pt idx="231">
                        <c:v>18.110344827586207</c:v>
                      </c:pt>
                      <c:pt idx="232">
                        <c:v>18.26896551724138</c:v>
                      </c:pt>
                      <c:pt idx="233">
                        <c:v>18.50344827586207</c:v>
                      </c:pt>
                      <c:pt idx="234">
                        <c:v>18.655172413793103</c:v>
                      </c:pt>
                      <c:pt idx="235">
                        <c:v>18.813793103448276</c:v>
                      </c:pt>
                      <c:pt idx="236">
                        <c:v>19.048275862068966</c:v>
                      </c:pt>
                      <c:pt idx="237">
                        <c:v>19.206896551724139</c:v>
                      </c:pt>
                      <c:pt idx="238">
                        <c:v>19.448275862068964</c:v>
                      </c:pt>
                      <c:pt idx="239">
                        <c:v>19.606896551724137</c:v>
                      </c:pt>
                      <c:pt idx="240">
                        <c:v>19.786206896551725</c:v>
                      </c:pt>
                      <c:pt idx="241">
                        <c:v>20.013793103448275</c:v>
                      </c:pt>
                      <c:pt idx="242">
                        <c:v>20.179310344827588</c:v>
                      </c:pt>
                      <c:pt idx="243">
                        <c:v>20.365517241379312</c:v>
                      </c:pt>
                      <c:pt idx="244">
                        <c:v>20.599999999999998</c:v>
                      </c:pt>
                      <c:pt idx="245">
                        <c:v>20.744827586206899</c:v>
                      </c:pt>
                      <c:pt idx="246">
                        <c:v>21.006896551724139</c:v>
                      </c:pt>
                      <c:pt idx="247">
                        <c:v>21.213793103448278</c:v>
                      </c:pt>
                      <c:pt idx="248">
                        <c:v>21.475862068965519</c:v>
                      </c:pt>
                      <c:pt idx="249">
                        <c:v>21.655172413793103</c:v>
                      </c:pt>
                      <c:pt idx="250">
                        <c:v>21.855172413793106</c:v>
                      </c:pt>
                      <c:pt idx="251">
                        <c:v>22.062068965517245</c:v>
                      </c:pt>
                      <c:pt idx="252">
                        <c:v>22.365517241379312</c:v>
                      </c:pt>
                      <c:pt idx="253">
                        <c:v>22.558620689655175</c:v>
                      </c:pt>
                      <c:pt idx="254">
                        <c:v>22.772413793103446</c:v>
                      </c:pt>
                      <c:pt idx="255">
                        <c:v>23</c:v>
                      </c:pt>
                      <c:pt idx="256">
                        <c:v>23.331034482758621</c:v>
                      </c:pt>
                      <c:pt idx="257">
                        <c:v>23.5448275862069</c:v>
                      </c:pt>
                      <c:pt idx="258">
                        <c:v>23.76551724137931</c:v>
                      </c:pt>
                      <c:pt idx="259">
                        <c:v>24.124137931034483</c:v>
                      </c:pt>
                      <c:pt idx="260">
                        <c:v>24.386206896551727</c:v>
                      </c:pt>
                      <c:pt idx="261">
                        <c:v>24.613793103448277</c:v>
                      </c:pt>
                      <c:pt idx="262">
                        <c:v>24.806896551724137</c:v>
                      </c:pt>
                      <c:pt idx="263">
                        <c:v>25.131034482758622</c:v>
                      </c:pt>
                      <c:pt idx="264">
                        <c:v>25.365517241379312</c:v>
                      </c:pt>
                      <c:pt idx="265">
                        <c:v>25.620689655172413</c:v>
                      </c:pt>
                      <c:pt idx="266">
                        <c:v>25.868965517241381</c:v>
                      </c:pt>
                      <c:pt idx="267">
                        <c:v>26.200000000000003</c:v>
                      </c:pt>
                      <c:pt idx="268">
                        <c:v>26.427586206896549</c:v>
                      </c:pt>
                      <c:pt idx="269">
                        <c:v>26.682758620689658</c:v>
                      </c:pt>
                      <c:pt idx="270">
                        <c:v>27.03448275862069</c:v>
                      </c:pt>
                      <c:pt idx="271">
                        <c:v>27.30344827586207</c:v>
                      </c:pt>
                      <c:pt idx="272">
                        <c:v>27.572413793103451</c:v>
                      </c:pt>
                      <c:pt idx="273">
                        <c:v>27.855172413793106</c:v>
                      </c:pt>
                      <c:pt idx="274">
                        <c:v>28.289655172413791</c:v>
                      </c:pt>
                      <c:pt idx="275">
                        <c:v>28.606896551724137</c:v>
                      </c:pt>
                      <c:pt idx="276">
                        <c:v>28.903448275862072</c:v>
                      </c:pt>
                      <c:pt idx="277">
                        <c:v>29.351724137931036</c:v>
                      </c:pt>
                      <c:pt idx="278">
                        <c:v>29.662068965517243</c:v>
                      </c:pt>
                      <c:pt idx="279">
                        <c:v>29.951724137931034</c:v>
                      </c:pt>
                      <c:pt idx="280">
                        <c:v>30.275862068965516</c:v>
                      </c:pt>
                      <c:pt idx="281">
                        <c:v>30.744827586206899</c:v>
                      </c:pt>
                      <c:pt idx="282">
                        <c:v>31.082758620689653</c:v>
                      </c:pt>
                      <c:pt idx="283">
                        <c:v>31.393103448275863</c:v>
                      </c:pt>
                      <c:pt idx="284">
                        <c:v>31.744827586206899</c:v>
                      </c:pt>
                      <c:pt idx="285">
                        <c:v>32.179310344827584</c:v>
                      </c:pt>
                      <c:pt idx="286">
                        <c:v>32.489655172413798</c:v>
                      </c:pt>
                      <c:pt idx="287">
                        <c:v>32.800000000000004</c:v>
                      </c:pt>
                      <c:pt idx="288">
                        <c:v>33.124137931034483</c:v>
                      </c:pt>
                      <c:pt idx="289">
                        <c:v>33.620689655172413</c:v>
                      </c:pt>
                      <c:pt idx="290">
                        <c:v>33.917241379310347</c:v>
                      </c:pt>
                      <c:pt idx="291">
                        <c:v>34.275862068965516</c:v>
                      </c:pt>
                      <c:pt idx="292">
                        <c:v>34.5448275862069</c:v>
                      </c:pt>
                      <c:pt idx="293">
                        <c:v>34.834482758620688</c:v>
                      </c:pt>
                      <c:pt idx="294">
                        <c:v>35.275862068965523</c:v>
                      </c:pt>
                      <c:pt idx="295">
                        <c:v>35.586206896551722</c:v>
                      </c:pt>
                      <c:pt idx="296">
                        <c:v>35.91724137931034</c:v>
                      </c:pt>
                      <c:pt idx="297">
                        <c:v>36.262068965517237</c:v>
                      </c:pt>
                      <c:pt idx="298">
                        <c:v>36.606896551724134</c:v>
                      </c:pt>
                      <c:pt idx="299">
                        <c:v>36.910344827586201</c:v>
                      </c:pt>
                      <c:pt idx="300">
                        <c:v>37.213793103448268</c:v>
                      </c:pt>
                      <c:pt idx="301">
                        <c:v>37.531034482758614</c:v>
                      </c:pt>
                      <c:pt idx="302">
                        <c:v>37.793103448275865</c:v>
                      </c:pt>
                      <c:pt idx="303">
                        <c:v>38.062068965517241</c:v>
                      </c:pt>
                      <c:pt idx="304">
                        <c:v>38.489655172413784</c:v>
                      </c:pt>
                      <c:pt idx="305">
                        <c:v>38.772413793103446</c:v>
                      </c:pt>
                      <c:pt idx="306">
                        <c:v>39.082758620689653</c:v>
                      </c:pt>
                      <c:pt idx="307">
                        <c:v>39.393103448275859</c:v>
                      </c:pt>
                      <c:pt idx="308">
                        <c:v>39.544827586206893</c:v>
                      </c:pt>
                      <c:pt idx="309">
                        <c:v>39.88275862068965</c:v>
                      </c:pt>
                      <c:pt idx="310">
                        <c:v>40.241379310344826</c:v>
                      </c:pt>
                      <c:pt idx="311">
                        <c:v>40.427586206896549</c:v>
                      </c:pt>
                      <c:pt idx="312">
                        <c:v>40.813793103448276</c:v>
                      </c:pt>
                      <c:pt idx="313">
                        <c:v>41.013793103448272</c:v>
                      </c:pt>
                      <c:pt idx="314">
                        <c:v>41.427586206896549</c:v>
                      </c:pt>
                      <c:pt idx="315">
                        <c:v>41.648275862068964</c:v>
                      </c:pt>
                      <c:pt idx="316">
                        <c:v>42.117241379310343</c:v>
                      </c:pt>
                      <c:pt idx="317">
                        <c:v>42.358620689655169</c:v>
                      </c:pt>
                      <c:pt idx="318">
                        <c:v>42.862068965517238</c:v>
                      </c:pt>
                      <c:pt idx="319">
                        <c:v>43.137931034482762</c:v>
                      </c:pt>
                      <c:pt idx="320">
                        <c:v>43.413793103448278</c:v>
                      </c:pt>
                      <c:pt idx="321">
                        <c:v>44.020689655172411</c:v>
                      </c:pt>
                      <c:pt idx="322">
                        <c:v>44.344827586206897</c:v>
                      </c:pt>
                      <c:pt idx="323">
                        <c:v>44.682758620689654</c:v>
                      </c:pt>
                      <c:pt idx="324">
                        <c:v>45.448275862068968</c:v>
                      </c:pt>
                      <c:pt idx="325">
                        <c:v>45.648275862068964</c:v>
                      </c:pt>
                      <c:pt idx="326">
                        <c:v>46.089655172413792</c:v>
                      </c:pt>
                      <c:pt idx="327">
                        <c:v>46.558620689655164</c:v>
                      </c:pt>
                      <c:pt idx="328">
                        <c:v>47.048275862068962</c:v>
                      </c:pt>
                      <c:pt idx="329">
                        <c:v>47.310344827586206</c:v>
                      </c:pt>
                      <c:pt idx="330">
                        <c:v>47.84137931034482</c:v>
                      </c:pt>
                      <c:pt idx="331">
                        <c:v>48.103448275862071</c:v>
                      </c:pt>
                      <c:pt idx="332">
                        <c:v>48.365517241379308</c:v>
                      </c:pt>
                      <c:pt idx="333">
                        <c:v>48.627586206896545</c:v>
                      </c:pt>
                      <c:pt idx="334">
                        <c:v>48.87586206896551</c:v>
                      </c:pt>
                      <c:pt idx="335">
                        <c:v>49.337931034482757</c:v>
                      </c:pt>
                      <c:pt idx="336">
                        <c:v>49.551724137931032</c:v>
                      </c:pt>
                      <c:pt idx="337">
                        <c:v>49.765517241379307</c:v>
                      </c:pt>
                      <c:pt idx="338">
                        <c:v>49.951724137931031</c:v>
                      </c:pt>
                      <c:pt idx="339">
                        <c:v>50.131034482758622</c:v>
                      </c:pt>
                      <c:pt idx="340">
                        <c:v>50.468965517241379</c:v>
                      </c:pt>
                      <c:pt idx="341">
                        <c:v>50.786206896551725</c:v>
                      </c:pt>
                      <c:pt idx="342">
                        <c:v>51.186206896551717</c:v>
                      </c:pt>
                      <c:pt idx="343">
                        <c:v>51.758620689655174</c:v>
                      </c:pt>
                      <c:pt idx="344">
                        <c:v>52.910344827586201</c:v>
                      </c:pt>
                      <c:pt idx="345">
                        <c:v>52.972413793103442</c:v>
                      </c:pt>
                      <c:pt idx="346">
                        <c:v>62.268965517241377</c:v>
                      </c:pt>
                      <c:pt idx="347">
                        <c:v>67.993103448275861</c:v>
                      </c:pt>
                    </c:numCache>
                  </c:numRef>
                </c:yVal>
                <c:smooth val="0"/>
                <c:extLst xmlns:c15="http://schemas.microsoft.com/office/drawing/2012/chart">
                  <c:ext xmlns:c16="http://schemas.microsoft.com/office/drawing/2014/chart" uri="{C3380CC4-5D6E-409C-BE32-E72D297353CC}">
                    <c16:uniqueId val="{00000006-ED69-4A8E-A206-AA40F443BECF}"/>
                  </c:ext>
                </c:extLst>
              </c15:ser>
            </c15:filteredScatterSeries>
            <c15:filteredScatterSeries>
              <c15:ser>
                <c:idx val="5"/>
                <c:order val="5"/>
                <c:tx>
                  <c:strRef>
                    <c:extLst xmlns:c15="http://schemas.microsoft.com/office/drawing/2012/chart">
                      <c:ext xmlns:c15="http://schemas.microsoft.com/office/drawing/2012/chart" uri="{02D57815-91ED-43cb-92C2-25804820EDAC}">
                        <c15:formulaRef>
                          <c15:sqref>Data!$N$6</c15:sqref>
                        </c15:formulaRef>
                      </c:ext>
                    </c:extLst>
                    <c:strCache>
                      <c:ptCount val="1"/>
                      <c:pt idx="0">
                        <c:v>Wet Cake Pressure</c:v>
                      </c:pt>
                    </c:strCache>
                  </c:strRef>
                </c:tx>
                <c:spPr>
                  <a:ln w="25400">
                    <a:solidFill>
                      <a:srgbClr val="00B050"/>
                    </a:solidFill>
                    <a:prstDash val="sysDot"/>
                  </a:ln>
                </c:spPr>
                <c:marker>
                  <c:symbol val="none"/>
                </c:marker>
                <c:xVal>
                  <c:numRef>
                    <c:extLst xmlns:c15="http://schemas.microsoft.com/office/drawing/2012/chart">
                      <c:ext xmlns:c15="http://schemas.microsoft.com/office/drawing/2012/chart" uri="{02D57815-91ED-43cb-92C2-25804820EDAC}">
                        <c15:formulaRef>
                          <c15:sqref>Data!$N$9:$N$469</c15:sqref>
                        </c15:formulaRef>
                      </c:ext>
                    </c:extLst>
                    <c:numCache>
                      <c:formatCode>General</c:formatCode>
                      <c:ptCount val="461"/>
                      <c:pt idx="129">
                        <c:v>0</c:v>
                      </c:pt>
                      <c:pt idx="130">
                        <c:v>2.6000000000000227</c:v>
                      </c:pt>
                      <c:pt idx="131">
                        <c:v>7.6000000000000227</c:v>
                      </c:pt>
                      <c:pt idx="132">
                        <c:v>12.600000000000023</c:v>
                      </c:pt>
                      <c:pt idx="133">
                        <c:v>17.600000000000023</c:v>
                      </c:pt>
                      <c:pt idx="134">
                        <c:v>22.600000000000023</c:v>
                      </c:pt>
                      <c:pt idx="135">
                        <c:v>22.639999999999986</c:v>
                      </c:pt>
                      <c:pt idx="136">
                        <c:v>27.600000000000023</c:v>
                      </c:pt>
                      <c:pt idx="137">
                        <c:v>32.600000000000023</c:v>
                      </c:pt>
                      <c:pt idx="138">
                        <c:v>37.600000000000023</c:v>
                      </c:pt>
                      <c:pt idx="139">
                        <c:v>42.600000000000023</c:v>
                      </c:pt>
                      <c:pt idx="140">
                        <c:v>47.600000000000023</c:v>
                      </c:pt>
                      <c:pt idx="141">
                        <c:v>52.600000000000023</c:v>
                      </c:pt>
                      <c:pt idx="142">
                        <c:v>57.600000000000023</c:v>
                      </c:pt>
                      <c:pt idx="143">
                        <c:v>62.600000000000023</c:v>
                      </c:pt>
                      <c:pt idx="144">
                        <c:v>67.600000000000023</c:v>
                      </c:pt>
                      <c:pt idx="145">
                        <c:v>70.419999999999959</c:v>
                      </c:pt>
                      <c:pt idx="146">
                        <c:v>75.419999999999959</c:v>
                      </c:pt>
                      <c:pt idx="147">
                        <c:v>80.419999999999959</c:v>
                      </c:pt>
                      <c:pt idx="148">
                        <c:v>85.419999999999959</c:v>
                      </c:pt>
                      <c:pt idx="149">
                        <c:v>90.419999999999959</c:v>
                      </c:pt>
                      <c:pt idx="150">
                        <c:v>95.419999999999959</c:v>
                      </c:pt>
                      <c:pt idx="151">
                        <c:v>96.299999999999955</c:v>
                      </c:pt>
                      <c:pt idx="152">
                        <c:v>101.29999999999995</c:v>
                      </c:pt>
                      <c:pt idx="153">
                        <c:v>106.29999999999995</c:v>
                      </c:pt>
                      <c:pt idx="154">
                        <c:v>108.72000000000003</c:v>
                      </c:pt>
                      <c:pt idx="155">
                        <c:v>113.72000000000003</c:v>
                      </c:pt>
                      <c:pt idx="156">
                        <c:v>118.72000000000003</c:v>
                      </c:pt>
                      <c:pt idx="157">
                        <c:v>122.70000000000005</c:v>
                      </c:pt>
                      <c:pt idx="158">
                        <c:v>127.70000000000005</c:v>
                      </c:pt>
                      <c:pt idx="159">
                        <c:v>131.03999999999996</c:v>
                      </c:pt>
                      <c:pt idx="160">
                        <c:v>136.03999999999996</c:v>
                      </c:pt>
                      <c:pt idx="161">
                        <c:v>141.03999999999996</c:v>
                      </c:pt>
                      <c:pt idx="162">
                        <c:v>141.91999999999996</c:v>
                      </c:pt>
                      <c:pt idx="163">
                        <c:v>146.39999999999998</c:v>
                      </c:pt>
                      <c:pt idx="164">
                        <c:v>151.39999999999998</c:v>
                      </c:pt>
                      <c:pt idx="165">
                        <c:v>153.96000000000004</c:v>
                      </c:pt>
                      <c:pt idx="166">
                        <c:v>158.96000000000004</c:v>
                      </c:pt>
                      <c:pt idx="167">
                        <c:v>159.13999999999999</c:v>
                      </c:pt>
                      <c:pt idx="168">
                        <c:v>164.14</c:v>
                      </c:pt>
                      <c:pt idx="169">
                        <c:v>165.20000000000005</c:v>
                      </c:pt>
                      <c:pt idx="170">
                        <c:v>167.72000000000003</c:v>
                      </c:pt>
                      <c:pt idx="171">
                        <c:v>171.51999999999998</c:v>
                      </c:pt>
                      <c:pt idx="172">
                        <c:v>176.51999999999998</c:v>
                      </c:pt>
                      <c:pt idx="173">
                        <c:v>176.76</c:v>
                      </c:pt>
                      <c:pt idx="174">
                        <c:v>179.62</c:v>
                      </c:pt>
                      <c:pt idx="175">
                        <c:v>184.38</c:v>
                      </c:pt>
                      <c:pt idx="176">
                        <c:v>186.76</c:v>
                      </c:pt>
                      <c:pt idx="177">
                        <c:v>191.05999999999995</c:v>
                      </c:pt>
                      <c:pt idx="178">
                        <c:v>193.26</c:v>
                      </c:pt>
                      <c:pt idx="179">
                        <c:v>196.27999999999997</c:v>
                      </c:pt>
                      <c:pt idx="180">
                        <c:v>198.24</c:v>
                      </c:pt>
                      <c:pt idx="181">
                        <c:v>200.79999999999995</c:v>
                      </c:pt>
                      <c:pt idx="182">
                        <c:v>203.14</c:v>
                      </c:pt>
                      <c:pt idx="183">
                        <c:v>205.70000000000005</c:v>
                      </c:pt>
                      <c:pt idx="184">
                        <c:v>207.38</c:v>
                      </c:pt>
                      <c:pt idx="185">
                        <c:v>209.67999999999995</c:v>
                      </c:pt>
                      <c:pt idx="186">
                        <c:v>211</c:v>
                      </c:pt>
                      <c:pt idx="187">
                        <c:v>212.26</c:v>
                      </c:pt>
                      <c:pt idx="188">
                        <c:v>214.5</c:v>
                      </c:pt>
                      <c:pt idx="189">
                        <c:v>215.64</c:v>
                      </c:pt>
                      <c:pt idx="190">
                        <c:v>217.44000000000005</c:v>
                      </c:pt>
                      <c:pt idx="191">
                        <c:v>218.58000000000004</c:v>
                      </c:pt>
                      <c:pt idx="192">
                        <c:v>219.65999999999997</c:v>
                      </c:pt>
                      <c:pt idx="193">
                        <c:v>221.10000000000002</c:v>
                      </c:pt>
                      <c:pt idx="194">
                        <c:v>221.77999999999997</c:v>
                      </c:pt>
                      <c:pt idx="195">
                        <c:v>222.98000000000002</c:v>
                      </c:pt>
                      <c:pt idx="196">
                        <c:v>223.74</c:v>
                      </c:pt>
                      <c:pt idx="197">
                        <c:v>224.77999999999997</c:v>
                      </c:pt>
                      <c:pt idx="198">
                        <c:v>225.46000000000004</c:v>
                      </c:pt>
                      <c:pt idx="199">
                        <c:v>226.05999999999995</c:v>
                      </c:pt>
                      <c:pt idx="200">
                        <c:v>226.98000000000002</c:v>
                      </c:pt>
                      <c:pt idx="201">
                        <c:v>227.53999999999996</c:v>
                      </c:pt>
                      <c:pt idx="202">
                        <c:v>228.38</c:v>
                      </c:pt>
                      <c:pt idx="203">
                        <c:v>228.98000000000002</c:v>
                      </c:pt>
                      <c:pt idx="204">
                        <c:v>229.53999999999996</c:v>
                      </c:pt>
                      <c:pt idx="205">
                        <c:v>230.34000000000003</c:v>
                      </c:pt>
                      <c:pt idx="206">
                        <c:v>230.86</c:v>
                      </c:pt>
                      <c:pt idx="207">
                        <c:v>231.38</c:v>
                      </c:pt>
                      <c:pt idx="208">
                        <c:v>232.05999999999995</c:v>
                      </c:pt>
                      <c:pt idx="209">
                        <c:v>232.51999999999998</c:v>
                      </c:pt>
                      <c:pt idx="210">
                        <c:v>232.96000000000004</c:v>
                      </c:pt>
                      <c:pt idx="211">
                        <c:v>233.55999999999995</c:v>
                      </c:pt>
                      <c:pt idx="212">
                        <c:v>233.98000000000002</c:v>
                      </c:pt>
                      <c:pt idx="213">
                        <c:v>234.29999999999995</c:v>
                      </c:pt>
                      <c:pt idx="214">
                        <c:v>234.82000000000005</c:v>
                      </c:pt>
                      <c:pt idx="215">
                        <c:v>235.14</c:v>
                      </c:pt>
                      <c:pt idx="216">
                        <c:v>235.62</c:v>
                      </c:pt>
                      <c:pt idx="217">
                        <c:v>235.94000000000005</c:v>
                      </c:pt>
                      <c:pt idx="218">
                        <c:v>236.26</c:v>
                      </c:pt>
                      <c:pt idx="219">
                        <c:v>236.60000000000002</c:v>
                      </c:pt>
                      <c:pt idx="220">
                        <c:v>237.03999999999996</c:v>
                      </c:pt>
                      <c:pt idx="221">
                        <c:v>237.34000000000003</c:v>
                      </c:pt>
                      <c:pt idx="222">
                        <c:v>237.82000000000005</c:v>
                      </c:pt>
                      <c:pt idx="223">
                        <c:v>238.15999999999997</c:v>
                      </c:pt>
                      <c:pt idx="224">
                        <c:v>238.51999999999998</c:v>
                      </c:pt>
                      <c:pt idx="225">
                        <c:v>239.10000000000002</c:v>
                      </c:pt>
                      <c:pt idx="226">
                        <c:v>239.55999999999995</c:v>
                      </c:pt>
                      <c:pt idx="227">
                        <c:v>240.32000000000005</c:v>
                      </c:pt>
                      <c:pt idx="228">
                        <c:v>240.91999999999996</c:v>
                      </c:pt>
                      <c:pt idx="229">
                        <c:v>241.48000000000002</c:v>
                      </c:pt>
                      <c:pt idx="230">
                        <c:v>242.32000000000005</c:v>
                      </c:pt>
                      <c:pt idx="231">
                        <c:v>242.84000000000003</c:v>
                      </c:pt>
                      <c:pt idx="232">
                        <c:v>243.39999999999998</c:v>
                      </c:pt>
                      <c:pt idx="233">
                        <c:v>244.15999999999997</c:v>
                      </c:pt>
                      <c:pt idx="234">
                        <c:v>244.79999999999995</c:v>
                      </c:pt>
                      <c:pt idx="235">
                        <c:v>245.32000000000005</c:v>
                      </c:pt>
                      <c:pt idx="236">
                        <c:v>246.03999999999996</c:v>
                      </c:pt>
                      <c:pt idx="237">
                        <c:v>246.51999999999998</c:v>
                      </c:pt>
                      <c:pt idx="238">
                        <c:v>247.24</c:v>
                      </c:pt>
                      <c:pt idx="239">
                        <c:v>247.72000000000003</c:v>
                      </c:pt>
                      <c:pt idx="240">
                        <c:v>248.20000000000005</c:v>
                      </c:pt>
                      <c:pt idx="241">
                        <c:v>248.67999999999995</c:v>
                      </c:pt>
                      <c:pt idx="242">
                        <c:v>249.39999999999998</c:v>
                      </c:pt>
                      <c:pt idx="243">
                        <c:v>249.82000000000005</c:v>
                      </c:pt>
                      <c:pt idx="244">
                        <c:v>250.24</c:v>
                      </c:pt>
                      <c:pt idx="245">
                        <c:v>250.86</c:v>
                      </c:pt>
                      <c:pt idx="246">
                        <c:v>251.24</c:v>
                      </c:pt>
                      <c:pt idx="247">
                        <c:v>251.62</c:v>
                      </c:pt>
                      <c:pt idx="248">
                        <c:v>252.15999999999997</c:v>
                      </c:pt>
                      <c:pt idx="249">
                        <c:v>252.51999999999998</c:v>
                      </c:pt>
                      <c:pt idx="250">
                        <c:v>252.86</c:v>
                      </c:pt>
                      <c:pt idx="251">
                        <c:v>253.32000000000005</c:v>
                      </c:pt>
                      <c:pt idx="252">
                        <c:v>253.60000000000002</c:v>
                      </c:pt>
                      <c:pt idx="253">
                        <c:v>254.08000000000004</c:v>
                      </c:pt>
                      <c:pt idx="254">
                        <c:v>254.41999999999996</c:v>
                      </c:pt>
                      <c:pt idx="255">
                        <c:v>254.70000000000005</c:v>
                      </c:pt>
                      <c:pt idx="256">
                        <c:v>255.15999999999997</c:v>
                      </c:pt>
                      <c:pt idx="257">
                        <c:v>255.46000000000004</c:v>
                      </c:pt>
                      <c:pt idx="258">
                        <c:v>255.74</c:v>
                      </c:pt>
                      <c:pt idx="259">
                        <c:v>256.17999999999995</c:v>
                      </c:pt>
                      <c:pt idx="260">
                        <c:v>256.46000000000004</c:v>
                      </c:pt>
                      <c:pt idx="261">
                        <c:v>256.72000000000003</c:v>
                      </c:pt>
                      <c:pt idx="262">
                        <c:v>257.12</c:v>
                      </c:pt>
                      <c:pt idx="263">
                        <c:v>257.38</c:v>
                      </c:pt>
                      <c:pt idx="264">
                        <c:v>257.62</c:v>
                      </c:pt>
                      <c:pt idx="265">
                        <c:v>257.98</c:v>
                      </c:pt>
                      <c:pt idx="266">
                        <c:v>258.22000000000003</c:v>
                      </c:pt>
                      <c:pt idx="267">
                        <c:v>258.46000000000004</c:v>
                      </c:pt>
                      <c:pt idx="268">
                        <c:v>258.76</c:v>
                      </c:pt>
                      <c:pt idx="269">
                        <c:v>258.98</c:v>
                      </c:pt>
                      <c:pt idx="270">
                        <c:v>259.17999999999995</c:v>
                      </c:pt>
                      <c:pt idx="271">
                        <c:v>259.48</c:v>
                      </c:pt>
                      <c:pt idx="272">
                        <c:v>259.67999999999995</c:v>
                      </c:pt>
                      <c:pt idx="273">
                        <c:v>259.88</c:v>
                      </c:pt>
                      <c:pt idx="274">
                        <c:v>260.08000000000004</c:v>
                      </c:pt>
                      <c:pt idx="275">
                        <c:v>260.36</c:v>
                      </c:pt>
                      <c:pt idx="276">
                        <c:v>260.55999999999995</c:v>
                      </c:pt>
                      <c:pt idx="277">
                        <c:v>260.74</c:v>
                      </c:pt>
                      <c:pt idx="278">
                        <c:v>260.89999999999998</c:v>
                      </c:pt>
                      <c:pt idx="279">
                        <c:v>261.05999999999995</c:v>
                      </c:pt>
                      <c:pt idx="280">
                        <c:v>261.32000000000005</c:v>
                      </c:pt>
                      <c:pt idx="281">
                        <c:v>261.46000000000004</c:v>
                      </c:pt>
                      <c:pt idx="282">
                        <c:v>261.62</c:v>
                      </c:pt>
                      <c:pt idx="283">
                        <c:v>261.86</c:v>
                      </c:pt>
                      <c:pt idx="284">
                        <c:v>262.02</c:v>
                      </c:pt>
                      <c:pt idx="285">
                        <c:v>262.15999999999997</c:v>
                      </c:pt>
                      <c:pt idx="286">
                        <c:v>262.32000000000005</c:v>
                      </c:pt>
                      <c:pt idx="287">
                        <c:v>262.46000000000004</c:v>
                      </c:pt>
                      <c:pt idx="288">
                        <c:v>262.60000000000002</c:v>
                      </c:pt>
                      <c:pt idx="289">
                        <c:v>262.72000000000003</c:v>
                      </c:pt>
                      <c:pt idx="290">
                        <c:v>262.84000000000003</c:v>
                      </c:pt>
                      <c:pt idx="291">
                        <c:v>263.02</c:v>
                      </c:pt>
                      <c:pt idx="292">
                        <c:v>263.14</c:v>
                      </c:pt>
                      <c:pt idx="293">
                        <c:v>263.26</c:v>
                      </c:pt>
                      <c:pt idx="294">
                        <c:v>263.38</c:v>
                      </c:pt>
                      <c:pt idx="295">
                        <c:v>263.5</c:v>
                      </c:pt>
                      <c:pt idx="296">
                        <c:v>263.60000000000002</c:v>
                      </c:pt>
                      <c:pt idx="297">
                        <c:v>263.70000000000005</c:v>
                      </c:pt>
                      <c:pt idx="298">
                        <c:v>263.79999999999995</c:v>
                      </c:pt>
                      <c:pt idx="299">
                        <c:v>263.88</c:v>
                      </c:pt>
                      <c:pt idx="300">
                        <c:v>263.96000000000004</c:v>
                      </c:pt>
                      <c:pt idx="301">
                        <c:v>264.08000000000004</c:v>
                      </c:pt>
                      <c:pt idx="302">
                        <c:v>264.15999999999997</c:v>
                      </c:pt>
                      <c:pt idx="303">
                        <c:v>264.24</c:v>
                      </c:pt>
                      <c:pt idx="304">
                        <c:v>264.32000000000005</c:v>
                      </c:pt>
                      <c:pt idx="305">
                        <c:v>264.36</c:v>
                      </c:pt>
                      <c:pt idx="306">
                        <c:v>264.44000000000005</c:v>
                      </c:pt>
                      <c:pt idx="307">
                        <c:v>264.52</c:v>
                      </c:pt>
                      <c:pt idx="308">
                        <c:v>264.55999999999995</c:v>
                      </c:pt>
                      <c:pt idx="309">
                        <c:v>264.64</c:v>
                      </c:pt>
                      <c:pt idx="310">
                        <c:v>264.67999999999995</c:v>
                      </c:pt>
                      <c:pt idx="311">
                        <c:v>264.72000000000003</c:v>
                      </c:pt>
                      <c:pt idx="312">
                        <c:v>264.77999999999997</c:v>
                      </c:pt>
                      <c:pt idx="313">
                        <c:v>264.82000000000005</c:v>
                      </c:pt>
                      <c:pt idx="314">
                        <c:v>264.86</c:v>
                      </c:pt>
                      <c:pt idx="315">
                        <c:v>264.88</c:v>
                      </c:pt>
                      <c:pt idx="316">
                        <c:v>264.89999999999998</c:v>
                      </c:pt>
                      <c:pt idx="317">
                        <c:v>264.91999999999996</c:v>
                      </c:pt>
                      <c:pt idx="318">
                        <c:v>264.94000000000005</c:v>
                      </c:pt>
                      <c:pt idx="319">
                        <c:v>264.96000000000004</c:v>
                      </c:pt>
                      <c:pt idx="320">
                        <c:v>264.98</c:v>
                      </c:pt>
                      <c:pt idx="321">
                        <c:v>265</c:v>
                      </c:pt>
                      <c:pt idx="322">
                        <c:v>265.02</c:v>
                      </c:pt>
                      <c:pt idx="323">
                        <c:v>265.03999999999996</c:v>
                      </c:pt>
                      <c:pt idx="324">
                        <c:v>265.05999999999995</c:v>
                      </c:pt>
                      <c:pt idx="325">
                        <c:v>265.08000000000004</c:v>
                      </c:pt>
                      <c:pt idx="326">
                        <c:v>265.10000000000002</c:v>
                      </c:pt>
                      <c:pt idx="327">
                        <c:v>265.12</c:v>
                      </c:pt>
                      <c:pt idx="328">
                        <c:v>265.14</c:v>
                      </c:pt>
                      <c:pt idx="329">
                        <c:v>265.15999999999997</c:v>
                      </c:pt>
                      <c:pt idx="330">
                        <c:v>265.17999999999995</c:v>
                      </c:pt>
                      <c:pt idx="331">
                        <c:v>265.20000000000005</c:v>
                      </c:pt>
                      <c:pt idx="332">
                        <c:v>265.22000000000003</c:v>
                      </c:pt>
                      <c:pt idx="333">
                        <c:v>265.24</c:v>
                      </c:pt>
                      <c:pt idx="334">
                        <c:v>265.26</c:v>
                      </c:pt>
                      <c:pt idx="335">
                        <c:v>265.27999999999997</c:v>
                      </c:pt>
                      <c:pt idx="336">
                        <c:v>265.29999999999995</c:v>
                      </c:pt>
                      <c:pt idx="337">
                        <c:v>265.34000000000003</c:v>
                      </c:pt>
                      <c:pt idx="338">
                        <c:v>265.38</c:v>
                      </c:pt>
                      <c:pt idx="339">
                        <c:v>265.40999999999997</c:v>
                      </c:pt>
                      <c:pt idx="340">
                        <c:v>270.40999999999997</c:v>
                      </c:pt>
                      <c:pt idx="341">
                        <c:v>275.40999999999997</c:v>
                      </c:pt>
                      <c:pt idx="342">
                        <c:v>280.14</c:v>
                      </c:pt>
                      <c:pt idx="343">
                        <c:v>285.14</c:v>
                      </c:pt>
                      <c:pt idx="344">
                        <c:v>290.14</c:v>
                      </c:pt>
                      <c:pt idx="345">
                        <c:v>295.14</c:v>
                      </c:pt>
                      <c:pt idx="346">
                        <c:v>300.14</c:v>
                      </c:pt>
                      <c:pt idx="347">
                        <c:v>300.17999999999995</c:v>
                      </c:pt>
                      <c:pt idx="348">
                        <c:v>305.14</c:v>
                      </c:pt>
                      <c:pt idx="349">
                        <c:v>310.03999999999996</c:v>
                      </c:pt>
                      <c:pt idx="350">
                        <c:v>315.03999999999996</c:v>
                      </c:pt>
                      <c:pt idx="351">
                        <c:v>318.53999999999996</c:v>
                      </c:pt>
                    </c:numCache>
                  </c:numRef>
                </c:xVal>
                <c:yVal>
                  <c:numRef>
                    <c:extLst xmlns:c15="http://schemas.microsoft.com/office/drawing/2012/chart">
                      <c:ext xmlns:c15="http://schemas.microsoft.com/office/drawing/2012/chart" uri="{02D57815-91ED-43cb-92C2-25804820EDAC}">
                        <c15:formulaRef>
                          <c15:sqref>Data!$M$9:$M$469</c15:sqref>
                        </c15:formulaRef>
                      </c:ext>
                    </c:extLst>
                    <c:numCache>
                      <c:formatCode>General</c:formatCode>
                      <c:ptCount val="461"/>
                      <c:pt idx="129">
                        <c:v>5.5103448275862066</c:v>
                      </c:pt>
                      <c:pt idx="130">
                        <c:v>5.6137931034482751</c:v>
                      </c:pt>
                      <c:pt idx="131">
                        <c:v>5.6413793103448278</c:v>
                      </c:pt>
                      <c:pt idx="132">
                        <c:v>5.6551724137931032</c:v>
                      </c:pt>
                      <c:pt idx="133">
                        <c:v>5.6620689655172409</c:v>
                      </c:pt>
                      <c:pt idx="134">
                        <c:v>5.6758620689655173</c:v>
                      </c:pt>
                      <c:pt idx="135">
                        <c:v>5.6758620689655173</c:v>
                      </c:pt>
                      <c:pt idx="136">
                        <c:v>5.6896551724137927</c:v>
                      </c:pt>
                      <c:pt idx="137">
                        <c:v>5.703448275862069</c:v>
                      </c:pt>
                      <c:pt idx="138">
                        <c:v>5.7172413793103445</c:v>
                      </c:pt>
                      <c:pt idx="139">
                        <c:v>5.7241379310344831</c:v>
                      </c:pt>
                      <c:pt idx="140">
                        <c:v>5.7448275862068963</c:v>
                      </c:pt>
                      <c:pt idx="141">
                        <c:v>5.751724137931034</c:v>
                      </c:pt>
                      <c:pt idx="142">
                        <c:v>5.7655172413793103</c:v>
                      </c:pt>
                      <c:pt idx="143">
                        <c:v>5.7793103448275858</c:v>
                      </c:pt>
                      <c:pt idx="144">
                        <c:v>5.7931034482758621</c:v>
                      </c:pt>
                      <c:pt idx="145">
                        <c:v>5.8068965517241384</c:v>
                      </c:pt>
                      <c:pt idx="146">
                        <c:v>5.820689655172413</c:v>
                      </c:pt>
                      <c:pt idx="147">
                        <c:v>5.8344827586206893</c:v>
                      </c:pt>
                      <c:pt idx="148">
                        <c:v>5.8551724137931025</c:v>
                      </c:pt>
                      <c:pt idx="149">
                        <c:v>5.8758620689655174</c:v>
                      </c:pt>
                      <c:pt idx="150">
                        <c:v>5.8965517241379306</c:v>
                      </c:pt>
                      <c:pt idx="151">
                        <c:v>5.9034482758620683</c:v>
                      </c:pt>
                      <c:pt idx="152">
                        <c:v>5.9241379310344824</c:v>
                      </c:pt>
                      <c:pt idx="153">
                        <c:v>5.9517241379310342</c:v>
                      </c:pt>
                      <c:pt idx="154">
                        <c:v>5.9655172413793105</c:v>
                      </c:pt>
                      <c:pt idx="155">
                        <c:v>6</c:v>
                      </c:pt>
                      <c:pt idx="156">
                        <c:v>6.0344827586206895</c:v>
                      </c:pt>
                      <c:pt idx="157">
                        <c:v>6.068965517241379</c:v>
                      </c:pt>
                      <c:pt idx="158">
                        <c:v>6.1172413793103448</c:v>
                      </c:pt>
                      <c:pt idx="159">
                        <c:v>6.1448275862068957</c:v>
                      </c:pt>
                      <c:pt idx="160">
                        <c:v>6.1999999999999993</c:v>
                      </c:pt>
                      <c:pt idx="161">
                        <c:v>6.2551724137931037</c:v>
                      </c:pt>
                      <c:pt idx="162">
                        <c:v>6.2689655172413783</c:v>
                      </c:pt>
                      <c:pt idx="163">
                        <c:v>6.3241379310344827</c:v>
                      </c:pt>
                      <c:pt idx="164">
                        <c:v>6.3999999999999995</c:v>
                      </c:pt>
                      <c:pt idx="165">
                        <c:v>6.4344827586206899</c:v>
                      </c:pt>
                      <c:pt idx="166">
                        <c:v>6.5172413793103452</c:v>
                      </c:pt>
                      <c:pt idx="167">
                        <c:v>6.524137931034482</c:v>
                      </c:pt>
                      <c:pt idx="168">
                        <c:v>6.6068965517241374</c:v>
                      </c:pt>
                      <c:pt idx="169">
                        <c:v>6.6275862068965514</c:v>
                      </c:pt>
                      <c:pt idx="170">
                        <c:v>6.6758620689655173</c:v>
                      </c:pt>
                      <c:pt idx="171">
                        <c:v>6.751724137931034</c:v>
                      </c:pt>
                      <c:pt idx="172">
                        <c:v>6.8620689655172411</c:v>
                      </c:pt>
                      <c:pt idx="173">
                        <c:v>6.8689655172413788</c:v>
                      </c:pt>
                      <c:pt idx="174">
                        <c:v>6.9379310344827578</c:v>
                      </c:pt>
                      <c:pt idx="175">
                        <c:v>7.0551724137931036</c:v>
                      </c:pt>
                      <c:pt idx="176">
                        <c:v>7.1172413793103448</c:v>
                      </c:pt>
                      <c:pt idx="177">
                        <c:v>7.2344827586206888</c:v>
                      </c:pt>
                      <c:pt idx="178">
                        <c:v>7.3034482758620687</c:v>
                      </c:pt>
                      <c:pt idx="179">
                        <c:v>7.4068965517241372</c:v>
                      </c:pt>
                      <c:pt idx="180">
                        <c:v>7.4689655172413794</c:v>
                      </c:pt>
                      <c:pt idx="181">
                        <c:v>7.5586206896551724</c:v>
                      </c:pt>
                      <c:pt idx="182">
                        <c:v>7.6482758620689646</c:v>
                      </c:pt>
                      <c:pt idx="183">
                        <c:v>7.7586206896551726</c:v>
                      </c:pt>
                      <c:pt idx="184">
                        <c:v>7.8275862068965507</c:v>
                      </c:pt>
                      <c:pt idx="185">
                        <c:v>7.9448275862068964</c:v>
                      </c:pt>
                      <c:pt idx="186">
                        <c:v>8.0068965517241377</c:v>
                      </c:pt>
                      <c:pt idx="187">
                        <c:v>8.068965517241379</c:v>
                      </c:pt>
                      <c:pt idx="188">
                        <c:v>8.1931034482758616</c:v>
                      </c:pt>
                      <c:pt idx="189">
                        <c:v>8.2689655172413783</c:v>
                      </c:pt>
                      <c:pt idx="190">
                        <c:v>8.3793103448275854</c:v>
                      </c:pt>
                      <c:pt idx="191">
                        <c:v>8.4551724137931039</c:v>
                      </c:pt>
                      <c:pt idx="192">
                        <c:v>8.5310344827586206</c:v>
                      </c:pt>
                      <c:pt idx="193">
                        <c:v>8.6413793103448278</c:v>
                      </c:pt>
                      <c:pt idx="194">
                        <c:v>8.6965517241379313</c:v>
                      </c:pt>
                      <c:pt idx="195">
                        <c:v>8.8068965517241384</c:v>
                      </c:pt>
                      <c:pt idx="196">
                        <c:v>8.8689655172413815</c:v>
                      </c:pt>
                      <c:pt idx="197">
                        <c:v>8.9655172413793096</c:v>
                      </c:pt>
                      <c:pt idx="198">
                        <c:v>9.0344827586206904</c:v>
                      </c:pt>
                      <c:pt idx="199">
                        <c:v>9.0965517241379317</c:v>
                      </c:pt>
                      <c:pt idx="200">
                        <c:v>9.1931034482758633</c:v>
                      </c:pt>
                      <c:pt idx="201">
                        <c:v>9.2551724137931046</c:v>
                      </c:pt>
                      <c:pt idx="202">
                        <c:v>9.3517241379310363</c:v>
                      </c:pt>
                      <c:pt idx="203">
                        <c:v>9.4413793103448285</c:v>
                      </c:pt>
                      <c:pt idx="204">
                        <c:v>9.5172413793103452</c:v>
                      </c:pt>
                      <c:pt idx="205">
                        <c:v>9.63448275862069</c:v>
                      </c:pt>
                      <c:pt idx="206">
                        <c:v>9.7172413793103445</c:v>
                      </c:pt>
                      <c:pt idx="207">
                        <c:v>9.8068965517241384</c:v>
                      </c:pt>
                      <c:pt idx="208">
                        <c:v>9.931034482758621</c:v>
                      </c:pt>
                      <c:pt idx="209">
                        <c:v>10.020689655172415</c:v>
                      </c:pt>
                      <c:pt idx="210">
                        <c:v>10.103448275862069</c:v>
                      </c:pt>
                      <c:pt idx="211">
                        <c:v>10.23448275862069</c:v>
                      </c:pt>
                      <c:pt idx="212">
                        <c:v>10.324137931034484</c:v>
                      </c:pt>
                      <c:pt idx="213">
                        <c:v>10.4</c:v>
                      </c:pt>
                      <c:pt idx="214">
                        <c:v>10.524137931034485</c:v>
                      </c:pt>
                      <c:pt idx="215">
                        <c:v>10.606896551724139</c:v>
                      </c:pt>
                      <c:pt idx="216">
                        <c:v>10.731034482758622</c:v>
                      </c:pt>
                      <c:pt idx="217">
                        <c:v>10.820689655172414</c:v>
                      </c:pt>
                      <c:pt idx="218">
                        <c:v>10.910344827586208</c:v>
                      </c:pt>
                      <c:pt idx="219">
                        <c:v>11.006896551724139</c:v>
                      </c:pt>
                      <c:pt idx="220">
                        <c:v>11.137931034482758</c:v>
                      </c:pt>
                      <c:pt idx="221">
                        <c:v>11.23448275862069</c:v>
                      </c:pt>
                      <c:pt idx="222">
                        <c:v>11.379310344827585</c:v>
                      </c:pt>
                      <c:pt idx="223">
                        <c:v>11.482758620689655</c:v>
                      </c:pt>
                      <c:pt idx="224">
                        <c:v>11.586206896551724</c:v>
                      </c:pt>
                      <c:pt idx="225">
                        <c:v>11.751724137931035</c:v>
                      </c:pt>
                      <c:pt idx="226">
                        <c:v>11.875862068965519</c:v>
                      </c:pt>
                      <c:pt idx="227">
                        <c:v>12.055172413793104</c:v>
                      </c:pt>
                      <c:pt idx="228">
                        <c:v>12.179310344827588</c:v>
                      </c:pt>
                      <c:pt idx="229">
                        <c:v>12.282758620689657</c:v>
                      </c:pt>
                      <c:pt idx="230">
                        <c:v>12.427586206896553</c:v>
                      </c:pt>
                      <c:pt idx="231">
                        <c:v>12.524137931034485</c:v>
                      </c:pt>
                      <c:pt idx="232">
                        <c:v>12.613793103448277</c:v>
                      </c:pt>
                      <c:pt idx="233">
                        <c:v>12.744827586206897</c:v>
                      </c:pt>
                      <c:pt idx="234">
                        <c:v>12.855172413793104</c:v>
                      </c:pt>
                      <c:pt idx="235">
                        <c:v>12.951724137931036</c:v>
                      </c:pt>
                      <c:pt idx="236">
                        <c:v>13.082758620689656</c:v>
                      </c:pt>
                      <c:pt idx="237">
                        <c:v>13.172413793103448</c:v>
                      </c:pt>
                      <c:pt idx="238">
                        <c:v>13.310344827586206</c:v>
                      </c:pt>
                      <c:pt idx="239">
                        <c:v>13.406896551724138</c:v>
                      </c:pt>
                      <c:pt idx="240">
                        <c:v>13.50344827586207</c:v>
                      </c:pt>
                      <c:pt idx="241">
                        <c:v>13.600000000000001</c:v>
                      </c:pt>
                      <c:pt idx="242">
                        <c:v>13.751724137931035</c:v>
                      </c:pt>
                      <c:pt idx="243">
                        <c:v>13.848275862068967</c:v>
                      </c:pt>
                      <c:pt idx="244">
                        <c:v>13.93793103448276</c:v>
                      </c:pt>
                      <c:pt idx="245">
                        <c:v>14.075862068965519</c:v>
                      </c:pt>
                      <c:pt idx="246">
                        <c:v>14.165517241379311</c:v>
                      </c:pt>
                      <c:pt idx="247">
                        <c:v>14.255172413793105</c:v>
                      </c:pt>
                      <c:pt idx="248">
                        <c:v>14.386206896551725</c:v>
                      </c:pt>
                      <c:pt idx="249">
                        <c:v>14.475862068965517</c:v>
                      </c:pt>
                      <c:pt idx="250">
                        <c:v>14.565517241379311</c:v>
                      </c:pt>
                      <c:pt idx="251">
                        <c:v>14.689655172413794</c:v>
                      </c:pt>
                      <c:pt idx="252">
                        <c:v>14.765517241379312</c:v>
                      </c:pt>
                      <c:pt idx="253">
                        <c:v>14.896551724137931</c:v>
                      </c:pt>
                      <c:pt idx="254">
                        <c:v>14.993103448275862</c:v>
                      </c:pt>
                      <c:pt idx="255">
                        <c:v>15.075862068965519</c:v>
                      </c:pt>
                      <c:pt idx="256">
                        <c:v>15.213793103448278</c:v>
                      </c:pt>
                      <c:pt idx="257">
                        <c:v>15.310344827586206</c:v>
                      </c:pt>
                      <c:pt idx="258">
                        <c:v>15.4</c:v>
                      </c:pt>
                      <c:pt idx="259">
                        <c:v>15.551724137931034</c:v>
                      </c:pt>
                      <c:pt idx="260">
                        <c:v>15.648275862068965</c:v>
                      </c:pt>
                      <c:pt idx="261">
                        <c:v>15.744827586206897</c:v>
                      </c:pt>
                      <c:pt idx="262">
                        <c:v>15.889655172413793</c:v>
                      </c:pt>
                      <c:pt idx="263">
                        <c:v>15.993103448275862</c:v>
                      </c:pt>
                      <c:pt idx="264">
                        <c:v>16.082758620689656</c:v>
                      </c:pt>
                      <c:pt idx="265">
                        <c:v>16.227586206896554</c:v>
                      </c:pt>
                      <c:pt idx="266">
                        <c:v>16.324137931034485</c:v>
                      </c:pt>
                      <c:pt idx="267">
                        <c:v>16.427586206896553</c:v>
                      </c:pt>
                      <c:pt idx="268">
                        <c:v>16.558620689655175</c:v>
                      </c:pt>
                      <c:pt idx="269">
                        <c:v>16.655172413793103</c:v>
                      </c:pt>
                      <c:pt idx="270">
                        <c:v>16.751724137931038</c:v>
                      </c:pt>
                      <c:pt idx="271">
                        <c:v>16.889655172413796</c:v>
                      </c:pt>
                      <c:pt idx="272">
                        <c:v>16.986206896551725</c:v>
                      </c:pt>
                      <c:pt idx="273">
                        <c:v>17.089655172413792</c:v>
                      </c:pt>
                      <c:pt idx="274">
                        <c:v>17.186206896551724</c:v>
                      </c:pt>
                      <c:pt idx="275">
                        <c:v>17.337931034482761</c:v>
                      </c:pt>
                      <c:pt idx="276">
                        <c:v>17.448275862068964</c:v>
                      </c:pt>
                      <c:pt idx="277">
                        <c:v>17.558620689655175</c:v>
                      </c:pt>
                      <c:pt idx="278">
                        <c:v>17.648275862068967</c:v>
                      </c:pt>
                      <c:pt idx="279">
                        <c:v>17.751724137931038</c:v>
                      </c:pt>
                      <c:pt idx="280">
                        <c:v>17.910344827586208</c:v>
                      </c:pt>
                      <c:pt idx="281">
                        <c:v>18</c:v>
                      </c:pt>
                      <c:pt idx="282">
                        <c:v>18.103448275862068</c:v>
                      </c:pt>
                      <c:pt idx="283">
                        <c:v>18.275862068965516</c:v>
                      </c:pt>
                      <c:pt idx="284">
                        <c:v>18.393103448275863</c:v>
                      </c:pt>
                      <c:pt idx="285">
                        <c:v>18.489655172413794</c:v>
                      </c:pt>
                      <c:pt idx="286">
                        <c:v>18.620689655172413</c:v>
                      </c:pt>
                      <c:pt idx="287">
                        <c:v>18.731034482758623</c:v>
                      </c:pt>
                      <c:pt idx="288">
                        <c:v>18.848275862068967</c:v>
                      </c:pt>
                      <c:pt idx="289">
                        <c:v>18.944827586206895</c:v>
                      </c:pt>
                      <c:pt idx="290">
                        <c:v>19.055172413793105</c:v>
                      </c:pt>
                      <c:pt idx="291">
                        <c:v>19.227586206896554</c:v>
                      </c:pt>
                      <c:pt idx="292">
                        <c:v>19.337931034482761</c:v>
                      </c:pt>
                      <c:pt idx="293">
                        <c:v>19.455172413793104</c:v>
                      </c:pt>
                      <c:pt idx="294">
                        <c:v>19.586206896551722</c:v>
                      </c:pt>
                      <c:pt idx="295">
                        <c:v>19.710344827586209</c:v>
                      </c:pt>
                      <c:pt idx="296">
                        <c:v>19.834482758620691</c:v>
                      </c:pt>
                      <c:pt idx="297">
                        <c:v>19.944827586206895</c:v>
                      </c:pt>
                      <c:pt idx="298">
                        <c:v>20.068965517241381</c:v>
                      </c:pt>
                      <c:pt idx="299">
                        <c:v>20.172413793103448</c:v>
                      </c:pt>
                      <c:pt idx="300">
                        <c:v>20.282758620689656</c:v>
                      </c:pt>
                      <c:pt idx="301">
                        <c:v>20.46206896551724</c:v>
                      </c:pt>
                      <c:pt idx="302">
                        <c:v>20.586206896551722</c:v>
                      </c:pt>
                      <c:pt idx="303">
                        <c:v>20.717241379310348</c:v>
                      </c:pt>
                      <c:pt idx="304">
                        <c:v>20.855172413793106</c:v>
                      </c:pt>
                      <c:pt idx="305">
                        <c:v>20.924137931034487</c:v>
                      </c:pt>
                      <c:pt idx="306">
                        <c:v>21.082758620689653</c:v>
                      </c:pt>
                      <c:pt idx="307">
                        <c:v>21.248275862068969</c:v>
                      </c:pt>
                      <c:pt idx="308">
                        <c:v>21.344827586206897</c:v>
                      </c:pt>
                      <c:pt idx="309">
                        <c:v>21.5448275862069</c:v>
                      </c:pt>
                      <c:pt idx="310">
                        <c:v>21.655172413793103</c:v>
                      </c:pt>
                      <c:pt idx="311">
                        <c:v>21.779310344827586</c:v>
                      </c:pt>
                      <c:pt idx="312">
                        <c:v>22.027586206896554</c:v>
                      </c:pt>
                      <c:pt idx="313">
                        <c:v>22.310344827586206</c:v>
                      </c:pt>
                      <c:pt idx="314">
                        <c:v>22.848275862068967</c:v>
                      </c:pt>
                      <c:pt idx="315">
                        <c:v>23.289655172413791</c:v>
                      </c:pt>
                      <c:pt idx="316">
                        <c:v>23.834482758620691</c:v>
                      </c:pt>
                      <c:pt idx="317">
                        <c:v>24.448275862068964</c:v>
                      </c:pt>
                      <c:pt idx="318">
                        <c:v>25.213793103448278</c:v>
                      </c:pt>
                      <c:pt idx="319">
                        <c:v>26.193103448275863</c:v>
                      </c:pt>
                      <c:pt idx="320">
                        <c:v>27.448275862068964</c:v>
                      </c:pt>
                      <c:pt idx="321">
                        <c:v>28.834482758620691</c:v>
                      </c:pt>
                      <c:pt idx="322">
                        <c:v>30.193103448275863</c:v>
                      </c:pt>
                      <c:pt idx="323">
                        <c:v>31.420689655172417</c:v>
                      </c:pt>
                      <c:pt idx="324">
                        <c:v>32.351724137931036</c:v>
                      </c:pt>
                      <c:pt idx="325">
                        <c:v>32.979310344827589</c:v>
                      </c:pt>
                      <c:pt idx="326">
                        <c:v>33.372413793103448</c:v>
                      </c:pt>
                      <c:pt idx="327">
                        <c:v>33.586206896551722</c:v>
                      </c:pt>
                      <c:pt idx="328">
                        <c:v>33.696551724137933</c:v>
                      </c:pt>
                      <c:pt idx="329">
                        <c:v>33.744827586206895</c:v>
                      </c:pt>
                      <c:pt idx="330">
                        <c:v>33.772413793103446</c:v>
                      </c:pt>
                      <c:pt idx="331">
                        <c:v>33.772413793103446</c:v>
                      </c:pt>
                      <c:pt idx="332">
                        <c:v>33.765517241379314</c:v>
                      </c:pt>
                      <c:pt idx="333">
                        <c:v>33.765517241379314</c:v>
                      </c:pt>
                      <c:pt idx="334">
                        <c:v>33.751724137931035</c:v>
                      </c:pt>
                      <c:pt idx="335">
                        <c:v>33.737931034482756</c:v>
                      </c:pt>
                      <c:pt idx="336">
                        <c:v>33.731034482758623</c:v>
                      </c:pt>
                      <c:pt idx="337">
                        <c:v>33.731034482758623</c:v>
                      </c:pt>
                      <c:pt idx="338">
                        <c:v>33.717241379310344</c:v>
                      </c:pt>
                      <c:pt idx="339">
                        <c:v>33.724137931034484</c:v>
                      </c:pt>
                      <c:pt idx="340">
                        <c:v>36.951724137931031</c:v>
                      </c:pt>
                      <c:pt idx="341">
                        <c:v>40.827586206896555</c:v>
                      </c:pt>
                      <c:pt idx="342">
                        <c:v>43.027586206896551</c:v>
                      </c:pt>
                      <c:pt idx="343">
                        <c:v>44.255172413793098</c:v>
                      </c:pt>
                      <c:pt idx="344">
                        <c:v>45.151724137931026</c:v>
                      </c:pt>
                      <c:pt idx="345">
                        <c:v>45.868965517241371</c:v>
                      </c:pt>
                      <c:pt idx="346">
                        <c:v>46.475862068965519</c:v>
                      </c:pt>
                      <c:pt idx="347">
                        <c:v>46.475862068965519</c:v>
                      </c:pt>
                      <c:pt idx="348">
                        <c:v>46.972413793103442</c:v>
                      </c:pt>
                      <c:pt idx="349">
                        <c:v>47.38620689655172</c:v>
                      </c:pt>
                      <c:pt idx="350">
                        <c:v>47.765517241379307</c:v>
                      </c:pt>
                      <c:pt idx="351">
                        <c:v>48</c:v>
                      </c:pt>
                    </c:numCache>
                  </c:numRef>
                </c:yVal>
                <c:smooth val="0"/>
                <c:extLst xmlns:c15="http://schemas.microsoft.com/office/drawing/2012/chart">
                  <c:ext xmlns:c16="http://schemas.microsoft.com/office/drawing/2014/chart" uri="{C3380CC4-5D6E-409C-BE32-E72D297353CC}">
                    <c16:uniqueId val="{00000007-ED69-4A8E-A206-AA40F443BECF}"/>
                  </c:ext>
                </c:extLst>
              </c15:ser>
            </c15:filteredScatterSeries>
            <c15:filteredScatterSeries>
              <c15:ser>
                <c:idx val="7"/>
                <c:order val="7"/>
                <c:tx>
                  <c:strRef>
                    <c:extLst xmlns:c15="http://schemas.microsoft.com/office/drawing/2012/chart">
                      <c:ext xmlns:c15="http://schemas.microsoft.com/office/drawing/2012/chart" uri="{02D57815-91ED-43cb-92C2-25804820EDAC}">
                        <c15:formulaRef>
                          <c15:sqref>Data!$S$6</c15:sqref>
                        </c15:formulaRef>
                      </c:ext>
                    </c:extLst>
                    <c:strCache>
                      <c:ptCount val="1"/>
                      <c:pt idx="0">
                        <c:v>Rust Contaminated Pressure</c:v>
                      </c:pt>
                    </c:strCache>
                  </c:strRef>
                </c:tx>
                <c:spPr>
                  <a:ln w="25400">
                    <a:solidFill>
                      <a:srgbClr val="7030A0"/>
                    </a:solidFill>
                    <a:prstDash val="sysDot"/>
                  </a:ln>
                </c:spPr>
                <c:marker>
                  <c:symbol val="none"/>
                </c:marker>
                <c:xVal>
                  <c:numRef>
                    <c:extLst xmlns:c15="http://schemas.microsoft.com/office/drawing/2012/chart">
                      <c:ext xmlns:c15="http://schemas.microsoft.com/office/drawing/2012/chart" uri="{02D57815-91ED-43cb-92C2-25804820EDAC}">
                        <c15:formulaRef>
                          <c15:sqref>Data!$S$9:$S$337</c15:sqref>
                        </c15:formulaRef>
                      </c:ext>
                    </c:extLst>
                    <c:numCache>
                      <c:formatCode>General</c:formatCode>
                      <c:ptCount val="329"/>
                      <c:pt idx="0">
                        <c:v>-556</c:v>
                      </c:pt>
                      <c:pt idx="1">
                        <c:v>-555</c:v>
                      </c:pt>
                      <c:pt idx="2">
                        <c:v>-551</c:v>
                      </c:pt>
                      <c:pt idx="3">
                        <c:v>-546</c:v>
                      </c:pt>
                      <c:pt idx="4">
                        <c:v>-541</c:v>
                      </c:pt>
                      <c:pt idx="5">
                        <c:v>-536</c:v>
                      </c:pt>
                      <c:pt idx="6">
                        <c:v>-535.96</c:v>
                      </c:pt>
                      <c:pt idx="7">
                        <c:v>-531</c:v>
                      </c:pt>
                      <c:pt idx="8">
                        <c:v>-526</c:v>
                      </c:pt>
                      <c:pt idx="9">
                        <c:v>-521</c:v>
                      </c:pt>
                      <c:pt idx="10">
                        <c:v>-517.80999999999995</c:v>
                      </c:pt>
                      <c:pt idx="11">
                        <c:v>-512.80999999999995</c:v>
                      </c:pt>
                      <c:pt idx="12">
                        <c:v>-511.88</c:v>
                      </c:pt>
                      <c:pt idx="13">
                        <c:v>-506.88</c:v>
                      </c:pt>
                      <c:pt idx="14">
                        <c:v>-501.88</c:v>
                      </c:pt>
                      <c:pt idx="15">
                        <c:v>-496.88</c:v>
                      </c:pt>
                      <c:pt idx="16">
                        <c:v>-491.88</c:v>
                      </c:pt>
                      <c:pt idx="17">
                        <c:v>-491.84000000000003</c:v>
                      </c:pt>
                      <c:pt idx="18">
                        <c:v>-486.88</c:v>
                      </c:pt>
                      <c:pt idx="19">
                        <c:v>-481.88</c:v>
                      </c:pt>
                      <c:pt idx="20">
                        <c:v>-481.84000000000003</c:v>
                      </c:pt>
                      <c:pt idx="21">
                        <c:v>-476.84000000000003</c:v>
                      </c:pt>
                      <c:pt idx="22">
                        <c:v>-475.98</c:v>
                      </c:pt>
                      <c:pt idx="23">
                        <c:v>-470.98</c:v>
                      </c:pt>
                      <c:pt idx="24">
                        <c:v>-465.98</c:v>
                      </c:pt>
                      <c:pt idx="25">
                        <c:v>-460.98</c:v>
                      </c:pt>
                      <c:pt idx="26">
                        <c:v>-455.98</c:v>
                      </c:pt>
                      <c:pt idx="27">
                        <c:v>-455.94</c:v>
                      </c:pt>
                      <c:pt idx="28">
                        <c:v>-450.98</c:v>
                      </c:pt>
                      <c:pt idx="29">
                        <c:v>-445.98</c:v>
                      </c:pt>
                      <c:pt idx="30">
                        <c:v>-445.94</c:v>
                      </c:pt>
                      <c:pt idx="31">
                        <c:v>-440.94</c:v>
                      </c:pt>
                      <c:pt idx="32">
                        <c:v>-440</c:v>
                      </c:pt>
                      <c:pt idx="33">
                        <c:v>-435</c:v>
                      </c:pt>
                      <c:pt idx="34">
                        <c:v>-430</c:v>
                      </c:pt>
                      <c:pt idx="35">
                        <c:v>-425</c:v>
                      </c:pt>
                      <c:pt idx="36">
                        <c:v>-420</c:v>
                      </c:pt>
                      <c:pt idx="37">
                        <c:v>-419.96000000000004</c:v>
                      </c:pt>
                      <c:pt idx="38">
                        <c:v>-416.25</c:v>
                      </c:pt>
                      <c:pt idx="39">
                        <c:v>-411.25</c:v>
                      </c:pt>
                      <c:pt idx="40">
                        <c:v>-409.68</c:v>
                      </c:pt>
                      <c:pt idx="41">
                        <c:v>-404.68</c:v>
                      </c:pt>
                      <c:pt idx="42">
                        <c:v>-399.68</c:v>
                      </c:pt>
                      <c:pt idx="43">
                        <c:v>-394.68</c:v>
                      </c:pt>
                      <c:pt idx="44">
                        <c:v>-389.68</c:v>
                      </c:pt>
                      <c:pt idx="45">
                        <c:v>-389.64</c:v>
                      </c:pt>
                      <c:pt idx="46">
                        <c:v>-384.68</c:v>
                      </c:pt>
                      <c:pt idx="47">
                        <c:v>-379.68</c:v>
                      </c:pt>
                      <c:pt idx="48">
                        <c:v>-379.63</c:v>
                      </c:pt>
                      <c:pt idx="49">
                        <c:v>-374.63</c:v>
                      </c:pt>
                      <c:pt idx="50">
                        <c:v>-373.46000000000004</c:v>
                      </c:pt>
                      <c:pt idx="51">
                        <c:v>-368.46000000000004</c:v>
                      </c:pt>
                      <c:pt idx="52">
                        <c:v>-363.46000000000004</c:v>
                      </c:pt>
                      <c:pt idx="53">
                        <c:v>-358.46000000000004</c:v>
                      </c:pt>
                      <c:pt idx="54">
                        <c:v>-353.46000000000004</c:v>
                      </c:pt>
                      <c:pt idx="55">
                        <c:v>-353.41999999999996</c:v>
                      </c:pt>
                      <c:pt idx="56">
                        <c:v>-348.46000000000004</c:v>
                      </c:pt>
                      <c:pt idx="57">
                        <c:v>-343.46000000000004</c:v>
                      </c:pt>
                      <c:pt idx="58">
                        <c:v>-338.46000000000004</c:v>
                      </c:pt>
                      <c:pt idx="59">
                        <c:v>-333.46000000000004</c:v>
                      </c:pt>
                      <c:pt idx="60">
                        <c:v>-333.39</c:v>
                      </c:pt>
                      <c:pt idx="61">
                        <c:v>-328.39</c:v>
                      </c:pt>
                      <c:pt idx="62">
                        <c:v>-327.98</c:v>
                      </c:pt>
                      <c:pt idx="63">
                        <c:v>-322.98</c:v>
                      </c:pt>
                      <c:pt idx="64">
                        <c:v>-317.98</c:v>
                      </c:pt>
                      <c:pt idx="65">
                        <c:v>-312.98</c:v>
                      </c:pt>
                      <c:pt idx="66">
                        <c:v>-307.98</c:v>
                      </c:pt>
                      <c:pt idx="67">
                        <c:v>-307.94</c:v>
                      </c:pt>
                      <c:pt idx="68">
                        <c:v>-302.98</c:v>
                      </c:pt>
                      <c:pt idx="69">
                        <c:v>-297.98</c:v>
                      </c:pt>
                      <c:pt idx="70">
                        <c:v>-297.93</c:v>
                      </c:pt>
                      <c:pt idx="71">
                        <c:v>-292.93</c:v>
                      </c:pt>
                      <c:pt idx="72">
                        <c:v>-291.89999999999998</c:v>
                      </c:pt>
                      <c:pt idx="73">
                        <c:v>-286.89999999999998</c:v>
                      </c:pt>
                      <c:pt idx="74">
                        <c:v>-281.89999999999998</c:v>
                      </c:pt>
                      <c:pt idx="75">
                        <c:v>-276.89999999999998</c:v>
                      </c:pt>
                      <c:pt idx="76">
                        <c:v>-271.89999999999998</c:v>
                      </c:pt>
                      <c:pt idx="77">
                        <c:v>-271.86</c:v>
                      </c:pt>
                      <c:pt idx="78">
                        <c:v>-266.89999999999998</c:v>
                      </c:pt>
                      <c:pt idx="79">
                        <c:v>-261.89999999999998</c:v>
                      </c:pt>
                      <c:pt idx="80">
                        <c:v>-258.33</c:v>
                      </c:pt>
                      <c:pt idx="81">
                        <c:v>-253.32999999999998</c:v>
                      </c:pt>
                      <c:pt idx="82">
                        <c:v>-252.8</c:v>
                      </c:pt>
                      <c:pt idx="83">
                        <c:v>-247.8</c:v>
                      </c:pt>
                      <c:pt idx="84">
                        <c:v>-242.8</c:v>
                      </c:pt>
                      <c:pt idx="85">
                        <c:v>-237.8</c:v>
                      </c:pt>
                      <c:pt idx="86">
                        <c:v>-232.8</c:v>
                      </c:pt>
                      <c:pt idx="87">
                        <c:v>-232.76</c:v>
                      </c:pt>
                      <c:pt idx="88">
                        <c:v>-227.8</c:v>
                      </c:pt>
                      <c:pt idx="89">
                        <c:v>-222.8</c:v>
                      </c:pt>
                      <c:pt idx="90">
                        <c:v>-222.73000000000002</c:v>
                      </c:pt>
                      <c:pt idx="91">
                        <c:v>-217.73000000000002</c:v>
                      </c:pt>
                      <c:pt idx="92">
                        <c:v>-216.7</c:v>
                      </c:pt>
                      <c:pt idx="93">
                        <c:v>-211.7</c:v>
                      </c:pt>
                      <c:pt idx="94">
                        <c:v>-206.7</c:v>
                      </c:pt>
                      <c:pt idx="95">
                        <c:v>-201.7</c:v>
                      </c:pt>
                      <c:pt idx="96">
                        <c:v>-196.7</c:v>
                      </c:pt>
                      <c:pt idx="97">
                        <c:v>-196.66000000000003</c:v>
                      </c:pt>
                      <c:pt idx="98">
                        <c:v>-191.7</c:v>
                      </c:pt>
                      <c:pt idx="99">
                        <c:v>-186.7</c:v>
                      </c:pt>
                      <c:pt idx="100">
                        <c:v>-186.52999999999997</c:v>
                      </c:pt>
                      <c:pt idx="101">
                        <c:v>-181.52999999999997</c:v>
                      </c:pt>
                      <c:pt idx="102">
                        <c:v>-180.98000000000002</c:v>
                      </c:pt>
                      <c:pt idx="103">
                        <c:v>-175.98000000000002</c:v>
                      </c:pt>
                      <c:pt idx="104">
                        <c:v>-170.98000000000002</c:v>
                      </c:pt>
                      <c:pt idx="105">
                        <c:v>-165.98000000000002</c:v>
                      </c:pt>
                      <c:pt idx="106">
                        <c:v>-160.98000000000002</c:v>
                      </c:pt>
                      <c:pt idx="107">
                        <c:v>-160.94</c:v>
                      </c:pt>
                      <c:pt idx="108">
                        <c:v>-155.98000000000002</c:v>
                      </c:pt>
                      <c:pt idx="109">
                        <c:v>-150.98000000000002</c:v>
                      </c:pt>
                      <c:pt idx="110">
                        <c:v>-147.14999999999998</c:v>
                      </c:pt>
                      <c:pt idx="111">
                        <c:v>-142.14999999999998</c:v>
                      </c:pt>
                      <c:pt idx="112">
                        <c:v>-137.14999999999998</c:v>
                      </c:pt>
                      <c:pt idx="113">
                        <c:v>-132.14999999999998</c:v>
                      </c:pt>
                      <c:pt idx="114">
                        <c:v>-130.51</c:v>
                      </c:pt>
                      <c:pt idx="115">
                        <c:v>-125.50999999999999</c:v>
                      </c:pt>
                      <c:pt idx="116">
                        <c:v>-120.50999999999999</c:v>
                      </c:pt>
                      <c:pt idx="117">
                        <c:v>-117.87</c:v>
                      </c:pt>
                      <c:pt idx="118">
                        <c:v>-117.80000000000001</c:v>
                      </c:pt>
                      <c:pt idx="119">
                        <c:v>-112.80000000000001</c:v>
                      </c:pt>
                      <c:pt idx="120">
                        <c:v>-112.07999999999998</c:v>
                      </c:pt>
                      <c:pt idx="121">
                        <c:v>-107.07999999999998</c:v>
                      </c:pt>
                      <c:pt idx="122">
                        <c:v>-102.07999999999998</c:v>
                      </c:pt>
                      <c:pt idx="123">
                        <c:v>-97.079999999999984</c:v>
                      </c:pt>
                      <c:pt idx="124">
                        <c:v>-92.079999999999984</c:v>
                      </c:pt>
                      <c:pt idx="125">
                        <c:v>-92.04000000000002</c:v>
                      </c:pt>
                      <c:pt idx="126">
                        <c:v>-87.079999999999984</c:v>
                      </c:pt>
                      <c:pt idx="127">
                        <c:v>-82.079999999999984</c:v>
                      </c:pt>
                      <c:pt idx="128">
                        <c:v>-81.949999999999989</c:v>
                      </c:pt>
                      <c:pt idx="129">
                        <c:v>-76.949999999999989</c:v>
                      </c:pt>
                      <c:pt idx="130">
                        <c:v>-76.759999999999991</c:v>
                      </c:pt>
                      <c:pt idx="131">
                        <c:v>-71.759999999999991</c:v>
                      </c:pt>
                      <c:pt idx="132">
                        <c:v>-66.759999999999991</c:v>
                      </c:pt>
                      <c:pt idx="133">
                        <c:v>-61.759999999999991</c:v>
                      </c:pt>
                      <c:pt idx="134">
                        <c:v>-56.759999999999991</c:v>
                      </c:pt>
                      <c:pt idx="135">
                        <c:v>-56.720000000000027</c:v>
                      </c:pt>
                      <c:pt idx="136">
                        <c:v>-51.759999999999991</c:v>
                      </c:pt>
                      <c:pt idx="137">
                        <c:v>-46.759999999999991</c:v>
                      </c:pt>
                      <c:pt idx="138">
                        <c:v>-46.720000000000027</c:v>
                      </c:pt>
                      <c:pt idx="139">
                        <c:v>-41.720000000000027</c:v>
                      </c:pt>
                      <c:pt idx="140">
                        <c:v>-40.279999999999973</c:v>
                      </c:pt>
                      <c:pt idx="141">
                        <c:v>-35.279999999999973</c:v>
                      </c:pt>
                      <c:pt idx="142">
                        <c:v>-30.279999999999973</c:v>
                      </c:pt>
                      <c:pt idx="143">
                        <c:v>-25.279999999999973</c:v>
                      </c:pt>
                      <c:pt idx="144">
                        <c:v>-20.279999999999973</c:v>
                      </c:pt>
                      <c:pt idx="145">
                        <c:v>-20.240000000000009</c:v>
                      </c:pt>
                      <c:pt idx="146">
                        <c:v>-15.279999999999973</c:v>
                      </c:pt>
                      <c:pt idx="147">
                        <c:v>-10.279999999999973</c:v>
                      </c:pt>
                      <c:pt idx="148">
                        <c:v>-10.190000000000055</c:v>
                      </c:pt>
                      <c:pt idx="149">
                        <c:v>-5.1900000000000546</c:v>
                      </c:pt>
                      <c:pt idx="150">
                        <c:v>-4.7200000000000273</c:v>
                      </c:pt>
                      <c:pt idx="151">
                        <c:v>0.27999999999997272</c:v>
                      </c:pt>
                      <c:pt idx="152">
                        <c:v>5.2799999999999727</c:v>
                      </c:pt>
                      <c:pt idx="153">
                        <c:v>10.279999999999973</c:v>
                      </c:pt>
                      <c:pt idx="154">
                        <c:v>15.279999999999973</c:v>
                      </c:pt>
                      <c:pt idx="155">
                        <c:v>15.32000000000005</c:v>
                      </c:pt>
                      <c:pt idx="156">
                        <c:v>20.279999999999973</c:v>
                      </c:pt>
                      <c:pt idx="157">
                        <c:v>25.279999999999973</c:v>
                      </c:pt>
                      <c:pt idx="158">
                        <c:v>30.279999999999973</c:v>
                      </c:pt>
                      <c:pt idx="159">
                        <c:v>32.970000000000027</c:v>
                      </c:pt>
                      <c:pt idx="160">
                        <c:v>37.970000000000027</c:v>
                      </c:pt>
                      <c:pt idx="161">
                        <c:v>42.970000000000027</c:v>
                      </c:pt>
                      <c:pt idx="162">
                        <c:v>47.970000000000027</c:v>
                      </c:pt>
                      <c:pt idx="163">
                        <c:v>52.970000000000027</c:v>
                      </c:pt>
                      <c:pt idx="164">
                        <c:v>54.730000000000018</c:v>
                      </c:pt>
                      <c:pt idx="165">
                        <c:v>59.730000000000018</c:v>
                      </c:pt>
                      <c:pt idx="166">
                        <c:v>64.470000000000027</c:v>
                      </c:pt>
                      <c:pt idx="167">
                        <c:v>69.470000000000027</c:v>
                      </c:pt>
                      <c:pt idx="168">
                        <c:v>74.470000000000027</c:v>
                      </c:pt>
                      <c:pt idx="169">
                        <c:v>79.470000000000027</c:v>
                      </c:pt>
                      <c:pt idx="170">
                        <c:v>79.730000000000018</c:v>
                      </c:pt>
                      <c:pt idx="171">
                        <c:v>84.730000000000018</c:v>
                      </c:pt>
                      <c:pt idx="172">
                        <c:v>86.710000000000036</c:v>
                      </c:pt>
                      <c:pt idx="173">
                        <c:v>91.710000000000036</c:v>
                      </c:pt>
                      <c:pt idx="174">
                        <c:v>96.710000000000036</c:v>
                      </c:pt>
                      <c:pt idx="175">
                        <c:v>98.990000000000009</c:v>
                      </c:pt>
                      <c:pt idx="176">
                        <c:v>103.99000000000001</c:v>
                      </c:pt>
                      <c:pt idx="177">
                        <c:v>105.11000000000001</c:v>
                      </c:pt>
                      <c:pt idx="178">
                        <c:v>110.11000000000001</c:v>
                      </c:pt>
                      <c:pt idx="179">
                        <c:v>113.02999999999997</c:v>
                      </c:pt>
                      <c:pt idx="180">
                        <c:v>116.52999999999997</c:v>
                      </c:pt>
                      <c:pt idx="181">
                        <c:v>121.52999999999997</c:v>
                      </c:pt>
                      <c:pt idx="182">
                        <c:v>122.59000000000003</c:v>
                      </c:pt>
                      <c:pt idx="183">
                        <c:v>125.99000000000001</c:v>
                      </c:pt>
                      <c:pt idx="184">
                        <c:v>129.52999999999997</c:v>
                      </c:pt>
                      <c:pt idx="185">
                        <c:v>133.23000000000002</c:v>
                      </c:pt>
                      <c:pt idx="186">
                        <c:v>135.37</c:v>
                      </c:pt>
                      <c:pt idx="187">
                        <c:v>138.25</c:v>
                      </c:pt>
                      <c:pt idx="188">
                        <c:v>140.01</c:v>
                      </c:pt>
                      <c:pt idx="189">
                        <c:v>142.33000000000004</c:v>
                      </c:pt>
                      <c:pt idx="190">
                        <c:v>143.76999999999998</c:v>
                      </c:pt>
                      <c:pt idx="191">
                        <c:v>145.02999999999997</c:v>
                      </c:pt>
                      <c:pt idx="192">
                        <c:v>146.71000000000004</c:v>
                      </c:pt>
                      <c:pt idx="193">
                        <c:v>147.73000000000002</c:v>
                      </c:pt>
                      <c:pt idx="194">
                        <c:v>149.02999999999997</c:v>
                      </c:pt>
                      <c:pt idx="195">
                        <c:v>149.99</c:v>
                      </c:pt>
                      <c:pt idx="196">
                        <c:v>151.16999999999996</c:v>
                      </c:pt>
                      <c:pt idx="197">
                        <c:v>151.97000000000003</c:v>
                      </c:pt>
                      <c:pt idx="198">
                        <c:v>153.01</c:v>
                      </c:pt>
                      <c:pt idx="199">
                        <c:v>153.64999999999998</c:v>
                      </c:pt>
                      <c:pt idx="200">
                        <c:v>154.21000000000004</c:v>
                      </c:pt>
                      <c:pt idx="201">
                        <c:v>154.76999999999998</c:v>
                      </c:pt>
                      <c:pt idx="202">
                        <c:v>155.45000000000005</c:v>
                      </c:pt>
                      <c:pt idx="203">
                        <c:v>155.90999999999997</c:v>
                      </c:pt>
                      <c:pt idx="204">
                        <c:v>156.30999999999995</c:v>
                      </c:pt>
                      <c:pt idx="205">
                        <c:v>156.69000000000005</c:v>
                      </c:pt>
                      <c:pt idx="206">
                        <c:v>157.21000000000004</c:v>
                      </c:pt>
                      <c:pt idx="207">
                        <c:v>157.52999999999997</c:v>
                      </c:pt>
                      <c:pt idx="208">
                        <c:v>157.83000000000004</c:v>
                      </c:pt>
                      <c:pt idx="209">
                        <c:v>158.23000000000002</c:v>
                      </c:pt>
                      <c:pt idx="210">
                        <c:v>158.49</c:v>
                      </c:pt>
                      <c:pt idx="211">
                        <c:v>158.83000000000004</c:v>
                      </c:pt>
                      <c:pt idx="212">
                        <c:v>159.04999999999995</c:v>
                      </c:pt>
                      <c:pt idx="213">
                        <c:v>159.25</c:v>
                      </c:pt>
                      <c:pt idx="214">
                        <c:v>159.45000000000005</c:v>
                      </c:pt>
                      <c:pt idx="215">
                        <c:v>159.71000000000004</c:v>
                      </c:pt>
                      <c:pt idx="216">
                        <c:v>159.87</c:v>
                      </c:pt>
                      <c:pt idx="217">
                        <c:v>160.02999999999997</c:v>
                      </c:pt>
                      <c:pt idx="218">
                        <c:v>160.16999999999996</c:v>
                      </c:pt>
                      <c:pt idx="219">
                        <c:v>160.26999999999998</c:v>
                      </c:pt>
                      <c:pt idx="220">
                        <c:v>160.37</c:v>
                      </c:pt>
                      <c:pt idx="221">
                        <c:v>160.38999999999999</c:v>
                      </c:pt>
                      <c:pt idx="222">
                        <c:v>160.40999999999997</c:v>
                      </c:pt>
                      <c:pt idx="223">
                        <c:v>160.42999999999995</c:v>
                      </c:pt>
                      <c:pt idx="224">
                        <c:v>160.45000000000005</c:v>
                      </c:pt>
                      <c:pt idx="225">
                        <c:v>160.47000000000003</c:v>
                      </c:pt>
                      <c:pt idx="226">
                        <c:v>160.49</c:v>
                      </c:pt>
                      <c:pt idx="227">
                        <c:v>160.51</c:v>
                      </c:pt>
                      <c:pt idx="228">
                        <c:v>160.52999999999997</c:v>
                      </c:pt>
                      <c:pt idx="229">
                        <c:v>160.54999999999995</c:v>
                      </c:pt>
                      <c:pt idx="230">
                        <c:v>160.57000000000005</c:v>
                      </c:pt>
                      <c:pt idx="231">
                        <c:v>160.59000000000003</c:v>
                      </c:pt>
                      <c:pt idx="232">
                        <c:v>160.61000000000001</c:v>
                      </c:pt>
                      <c:pt idx="233">
                        <c:v>160.63</c:v>
                      </c:pt>
                      <c:pt idx="234">
                        <c:v>160.69000000000005</c:v>
                      </c:pt>
                      <c:pt idx="235">
                        <c:v>160.72000000000003</c:v>
                      </c:pt>
                      <c:pt idx="236">
                        <c:v>165.72000000000003</c:v>
                      </c:pt>
                      <c:pt idx="237">
                        <c:v>170.72000000000003</c:v>
                      </c:pt>
                      <c:pt idx="238">
                        <c:v>175.72000000000003</c:v>
                      </c:pt>
                      <c:pt idx="239">
                        <c:v>180.72000000000003</c:v>
                      </c:pt>
                      <c:pt idx="240">
                        <c:v>185.64</c:v>
                      </c:pt>
                      <c:pt idx="241">
                        <c:v>190.64</c:v>
                      </c:pt>
                      <c:pt idx="242">
                        <c:v>195.64</c:v>
                      </c:pt>
                      <c:pt idx="243">
                        <c:v>200.64</c:v>
                      </c:pt>
                      <c:pt idx="244">
                        <c:v>205.64</c:v>
                      </c:pt>
                      <c:pt idx="245">
                        <c:v>205.67999999999995</c:v>
                      </c:pt>
                      <c:pt idx="246">
                        <c:v>210.64</c:v>
                      </c:pt>
                      <c:pt idx="247">
                        <c:v>215.64</c:v>
                      </c:pt>
                      <c:pt idx="248">
                        <c:v>215.83000000000004</c:v>
                      </c:pt>
                    </c:numCache>
                  </c:numRef>
                </c:xVal>
                <c:yVal>
                  <c:numRef>
                    <c:extLst xmlns:c15="http://schemas.microsoft.com/office/drawing/2012/chart">
                      <c:ext xmlns:c15="http://schemas.microsoft.com/office/drawing/2012/chart" uri="{02D57815-91ED-43cb-92C2-25804820EDAC}">
                        <c15:formulaRef>
                          <c15:sqref>Data!$R$9:$R$337</c15:sqref>
                        </c15:formulaRef>
                      </c:ext>
                    </c:extLst>
                    <c:numCache>
                      <c:formatCode>General</c:formatCode>
                      <c:ptCount val="329"/>
                      <c:pt idx="0">
                        <c:v>0</c:v>
                      </c:pt>
                      <c:pt idx="1">
                        <c:v>-6.8965517241379067E-3</c:v>
                      </c:pt>
                      <c:pt idx="2">
                        <c:v>6.896551724138029E-3</c:v>
                      </c:pt>
                      <c:pt idx="3">
                        <c:v>6.896551724138029E-3</c:v>
                      </c:pt>
                      <c:pt idx="4">
                        <c:v>6.896551724138029E-3</c:v>
                      </c:pt>
                      <c:pt idx="5">
                        <c:v>6.896551724138029E-3</c:v>
                      </c:pt>
                      <c:pt idx="6">
                        <c:v>6.896551724138029E-3</c:v>
                      </c:pt>
                      <c:pt idx="7">
                        <c:v>1.3793103448275935E-2</c:v>
                      </c:pt>
                      <c:pt idx="8">
                        <c:v>1.3793103448275935E-2</c:v>
                      </c:pt>
                      <c:pt idx="9">
                        <c:v>6.896551724138029E-3</c:v>
                      </c:pt>
                      <c:pt idx="10">
                        <c:v>1.3793103448275935E-2</c:v>
                      </c:pt>
                      <c:pt idx="11">
                        <c:v>4.8275862068965593E-2</c:v>
                      </c:pt>
                      <c:pt idx="12">
                        <c:v>4.8275862068965593E-2</c:v>
                      </c:pt>
                      <c:pt idx="13">
                        <c:v>4.8275862068965593E-2</c:v>
                      </c:pt>
                      <c:pt idx="14">
                        <c:v>5.5172413793103496E-2</c:v>
                      </c:pt>
                      <c:pt idx="15">
                        <c:v>4.8275862068965593E-2</c:v>
                      </c:pt>
                      <c:pt idx="16">
                        <c:v>5.5172413793103496E-2</c:v>
                      </c:pt>
                      <c:pt idx="17">
                        <c:v>5.5172413793103496E-2</c:v>
                      </c:pt>
                      <c:pt idx="18">
                        <c:v>5.5172413793103496E-2</c:v>
                      </c:pt>
                      <c:pt idx="19">
                        <c:v>5.5172413793103496E-2</c:v>
                      </c:pt>
                      <c:pt idx="20">
                        <c:v>5.5172413793103496E-2</c:v>
                      </c:pt>
                      <c:pt idx="21">
                        <c:v>9.6551724137931186E-2</c:v>
                      </c:pt>
                      <c:pt idx="22">
                        <c:v>9.6551724137931186E-2</c:v>
                      </c:pt>
                      <c:pt idx="23">
                        <c:v>0.10344827586206896</c:v>
                      </c:pt>
                      <c:pt idx="24">
                        <c:v>0.10344827586206896</c:v>
                      </c:pt>
                      <c:pt idx="25">
                        <c:v>0.10344827586206896</c:v>
                      </c:pt>
                      <c:pt idx="26">
                        <c:v>0.11034482758620699</c:v>
                      </c:pt>
                      <c:pt idx="27">
                        <c:v>0.11034482758620699</c:v>
                      </c:pt>
                      <c:pt idx="28">
                        <c:v>0.11034482758620699</c:v>
                      </c:pt>
                      <c:pt idx="29">
                        <c:v>0.11034482758620699</c:v>
                      </c:pt>
                      <c:pt idx="30">
                        <c:v>0.10344827586206896</c:v>
                      </c:pt>
                      <c:pt idx="31">
                        <c:v>0.15172413793103443</c:v>
                      </c:pt>
                      <c:pt idx="32">
                        <c:v>0.15862068965517245</c:v>
                      </c:pt>
                      <c:pt idx="33">
                        <c:v>0.15862068965517245</c:v>
                      </c:pt>
                      <c:pt idx="34">
                        <c:v>0.15862068965517245</c:v>
                      </c:pt>
                      <c:pt idx="35">
                        <c:v>0.15862068965517245</c:v>
                      </c:pt>
                      <c:pt idx="36">
                        <c:v>0.15862068965517245</c:v>
                      </c:pt>
                      <c:pt idx="37">
                        <c:v>0.15862068965517245</c:v>
                      </c:pt>
                      <c:pt idx="38">
                        <c:v>0.15862068965517245</c:v>
                      </c:pt>
                      <c:pt idx="39">
                        <c:v>0.21379310344827596</c:v>
                      </c:pt>
                      <c:pt idx="40">
                        <c:v>0.22068965517241373</c:v>
                      </c:pt>
                      <c:pt idx="41">
                        <c:v>0.22758620689655176</c:v>
                      </c:pt>
                      <c:pt idx="42">
                        <c:v>0.22758620689655176</c:v>
                      </c:pt>
                      <c:pt idx="43">
                        <c:v>0.22758620689655176</c:v>
                      </c:pt>
                      <c:pt idx="44">
                        <c:v>0.22758620689655176</c:v>
                      </c:pt>
                      <c:pt idx="45">
                        <c:v>0.22758620689655176</c:v>
                      </c:pt>
                      <c:pt idx="46">
                        <c:v>0.22758620689655176</c:v>
                      </c:pt>
                      <c:pt idx="47">
                        <c:v>0.22758620689655176</c:v>
                      </c:pt>
                      <c:pt idx="48">
                        <c:v>0.22758620689655176</c:v>
                      </c:pt>
                      <c:pt idx="49">
                        <c:v>0.28965517241379307</c:v>
                      </c:pt>
                      <c:pt idx="50">
                        <c:v>0.29655172413793107</c:v>
                      </c:pt>
                      <c:pt idx="51">
                        <c:v>0.29655172413793107</c:v>
                      </c:pt>
                      <c:pt idx="52">
                        <c:v>0.30344827586206913</c:v>
                      </c:pt>
                      <c:pt idx="53">
                        <c:v>0.30344827586206913</c:v>
                      </c:pt>
                      <c:pt idx="54">
                        <c:v>0.30344827586206913</c:v>
                      </c:pt>
                      <c:pt idx="55">
                        <c:v>0.30344827586206913</c:v>
                      </c:pt>
                      <c:pt idx="56">
                        <c:v>0.30344827586206913</c:v>
                      </c:pt>
                      <c:pt idx="57">
                        <c:v>0.30344827586206913</c:v>
                      </c:pt>
                      <c:pt idx="58">
                        <c:v>0.31034482758620691</c:v>
                      </c:pt>
                      <c:pt idx="59">
                        <c:v>0.30344827586206913</c:v>
                      </c:pt>
                      <c:pt idx="60">
                        <c:v>0.31034482758620691</c:v>
                      </c:pt>
                      <c:pt idx="61">
                        <c:v>0.36551724137931041</c:v>
                      </c:pt>
                      <c:pt idx="62">
                        <c:v>0.36551724137931041</c:v>
                      </c:pt>
                      <c:pt idx="63">
                        <c:v>0.37241379310344841</c:v>
                      </c:pt>
                      <c:pt idx="64">
                        <c:v>0.37241379310344841</c:v>
                      </c:pt>
                      <c:pt idx="65">
                        <c:v>0.37241379310344841</c:v>
                      </c:pt>
                      <c:pt idx="66">
                        <c:v>0.37241379310344841</c:v>
                      </c:pt>
                      <c:pt idx="67">
                        <c:v>0.37241379310344841</c:v>
                      </c:pt>
                      <c:pt idx="68">
                        <c:v>0.37241379310344841</c:v>
                      </c:pt>
                      <c:pt idx="69">
                        <c:v>0.37241379310344841</c:v>
                      </c:pt>
                      <c:pt idx="70">
                        <c:v>0.37241379310344841</c:v>
                      </c:pt>
                      <c:pt idx="71">
                        <c:v>0.43448275862068969</c:v>
                      </c:pt>
                      <c:pt idx="72">
                        <c:v>0.44137931034482775</c:v>
                      </c:pt>
                      <c:pt idx="73">
                        <c:v>0.44827586206896552</c:v>
                      </c:pt>
                      <c:pt idx="74">
                        <c:v>0.44827586206896552</c:v>
                      </c:pt>
                      <c:pt idx="75">
                        <c:v>0.44827586206896552</c:v>
                      </c:pt>
                      <c:pt idx="76">
                        <c:v>0.44827586206896552</c:v>
                      </c:pt>
                      <c:pt idx="77">
                        <c:v>0.44827586206896552</c:v>
                      </c:pt>
                      <c:pt idx="78">
                        <c:v>0.44827586206896552</c:v>
                      </c:pt>
                      <c:pt idx="79">
                        <c:v>0.44137931034482775</c:v>
                      </c:pt>
                      <c:pt idx="80">
                        <c:v>0.44137931034482775</c:v>
                      </c:pt>
                      <c:pt idx="81">
                        <c:v>0.50344827586206897</c:v>
                      </c:pt>
                      <c:pt idx="82">
                        <c:v>0.50344827586206897</c:v>
                      </c:pt>
                      <c:pt idx="83">
                        <c:v>0.50344827586206897</c:v>
                      </c:pt>
                      <c:pt idx="84">
                        <c:v>0.50344827586206897</c:v>
                      </c:pt>
                      <c:pt idx="85">
                        <c:v>0.50344827586206897</c:v>
                      </c:pt>
                      <c:pt idx="86">
                        <c:v>0.50344827586206897</c:v>
                      </c:pt>
                      <c:pt idx="87">
                        <c:v>0.51034482758620703</c:v>
                      </c:pt>
                      <c:pt idx="88">
                        <c:v>0.50344827586206897</c:v>
                      </c:pt>
                      <c:pt idx="89">
                        <c:v>0.50344827586206897</c:v>
                      </c:pt>
                      <c:pt idx="90">
                        <c:v>0.50344827586206897</c:v>
                      </c:pt>
                      <c:pt idx="91">
                        <c:v>0.55862068965517253</c:v>
                      </c:pt>
                      <c:pt idx="92">
                        <c:v>0.55862068965517253</c:v>
                      </c:pt>
                      <c:pt idx="93">
                        <c:v>0.56551724137931025</c:v>
                      </c:pt>
                      <c:pt idx="94">
                        <c:v>0.56551724137931025</c:v>
                      </c:pt>
                      <c:pt idx="95">
                        <c:v>0.56551724137931025</c:v>
                      </c:pt>
                      <c:pt idx="96">
                        <c:v>0.56551724137931025</c:v>
                      </c:pt>
                      <c:pt idx="97">
                        <c:v>0.56551724137931025</c:v>
                      </c:pt>
                      <c:pt idx="98">
                        <c:v>0.56551724137931025</c:v>
                      </c:pt>
                      <c:pt idx="99">
                        <c:v>0.56551724137931025</c:v>
                      </c:pt>
                      <c:pt idx="100">
                        <c:v>0.56551724137931025</c:v>
                      </c:pt>
                      <c:pt idx="101">
                        <c:v>0.60689655172413803</c:v>
                      </c:pt>
                      <c:pt idx="102">
                        <c:v>0.60689655172413803</c:v>
                      </c:pt>
                      <c:pt idx="103">
                        <c:v>0.61379310344827598</c:v>
                      </c:pt>
                      <c:pt idx="104">
                        <c:v>0.61379310344827598</c:v>
                      </c:pt>
                      <c:pt idx="105">
                        <c:v>0.62068965517241381</c:v>
                      </c:pt>
                      <c:pt idx="106">
                        <c:v>0.62068965517241381</c:v>
                      </c:pt>
                      <c:pt idx="107">
                        <c:v>0.62758620689655187</c:v>
                      </c:pt>
                      <c:pt idx="108">
                        <c:v>0.62758620689655187</c:v>
                      </c:pt>
                      <c:pt idx="109">
                        <c:v>0.63448275862068959</c:v>
                      </c:pt>
                      <c:pt idx="110">
                        <c:v>0.63448275862068959</c:v>
                      </c:pt>
                      <c:pt idx="111">
                        <c:v>0.63448275862068959</c:v>
                      </c:pt>
                      <c:pt idx="112">
                        <c:v>0.63448275862068959</c:v>
                      </c:pt>
                      <c:pt idx="113">
                        <c:v>0.64137931034482765</c:v>
                      </c:pt>
                      <c:pt idx="114">
                        <c:v>0.64137931034482765</c:v>
                      </c:pt>
                      <c:pt idx="115">
                        <c:v>0.64137931034482765</c:v>
                      </c:pt>
                      <c:pt idx="116">
                        <c:v>0.63448275862068959</c:v>
                      </c:pt>
                      <c:pt idx="117">
                        <c:v>0.64137931034482765</c:v>
                      </c:pt>
                      <c:pt idx="118">
                        <c:v>0.63448275862068959</c:v>
                      </c:pt>
                      <c:pt idx="119">
                        <c:v>0.67586206896551726</c:v>
                      </c:pt>
                      <c:pt idx="120">
                        <c:v>0.68275862068965532</c:v>
                      </c:pt>
                      <c:pt idx="121">
                        <c:v>0.68965517241379315</c:v>
                      </c:pt>
                      <c:pt idx="122">
                        <c:v>0.68275862068965532</c:v>
                      </c:pt>
                      <c:pt idx="123">
                        <c:v>0.68275862068965532</c:v>
                      </c:pt>
                      <c:pt idx="124">
                        <c:v>0.68275862068965532</c:v>
                      </c:pt>
                      <c:pt idx="125">
                        <c:v>0.68275862068965532</c:v>
                      </c:pt>
                      <c:pt idx="126">
                        <c:v>0.67586206896551726</c:v>
                      </c:pt>
                      <c:pt idx="127">
                        <c:v>0.67586206896551726</c:v>
                      </c:pt>
                      <c:pt idx="128">
                        <c:v>0.67586206896551726</c:v>
                      </c:pt>
                      <c:pt idx="129">
                        <c:v>0.71724137931034493</c:v>
                      </c:pt>
                      <c:pt idx="130">
                        <c:v>0.71724137931034493</c:v>
                      </c:pt>
                      <c:pt idx="131">
                        <c:v>0.71724137931034493</c:v>
                      </c:pt>
                      <c:pt idx="132">
                        <c:v>0.72413793103448276</c:v>
                      </c:pt>
                      <c:pt idx="133">
                        <c:v>0.72413793103448276</c:v>
                      </c:pt>
                      <c:pt idx="134">
                        <c:v>0.72413793103448276</c:v>
                      </c:pt>
                      <c:pt idx="135">
                        <c:v>0.72413793103448276</c:v>
                      </c:pt>
                      <c:pt idx="136">
                        <c:v>0.72413793103448276</c:v>
                      </c:pt>
                      <c:pt idx="137">
                        <c:v>0.72413793103448276</c:v>
                      </c:pt>
                      <c:pt idx="138">
                        <c:v>0.72413793103448276</c:v>
                      </c:pt>
                      <c:pt idx="139">
                        <c:v>0.76551724137931043</c:v>
                      </c:pt>
                      <c:pt idx="140">
                        <c:v>0.76551724137931043</c:v>
                      </c:pt>
                      <c:pt idx="141">
                        <c:v>0.77931034482758621</c:v>
                      </c:pt>
                      <c:pt idx="142">
                        <c:v>0.77931034482758621</c:v>
                      </c:pt>
                      <c:pt idx="143">
                        <c:v>0.78620689655172427</c:v>
                      </c:pt>
                      <c:pt idx="144">
                        <c:v>0.78620689655172427</c:v>
                      </c:pt>
                      <c:pt idx="145">
                        <c:v>0.78620689655172427</c:v>
                      </c:pt>
                      <c:pt idx="146">
                        <c:v>0.7931034482758621</c:v>
                      </c:pt>
                      <c:pt idx="147">
                        <c:v>0.7931034482758621</c:v>
                      </c:pt>
                      <c:pt idx="148">
                        <c:v>0.7931034482758621</c:v>
                      </c:pt>
                      <c:pt idx="149">
                        <c:v>0.83448275862068977</c:v>
                      </c:pt>
                      <c:pt idx="150">
                        <c:v>0.84137931034482749</c:v>
                      </c:pt>
                      <c:pt idx="151">
                        <c:v>0.8551724137931036</c:v>
                      </c:pt>
                      <c:pt idx="152">
                        <c:v>0.86896551724137938</c:v>
                      </c:pt>
                      <c:pt idx="153">
                        <c:v>0.88275862068965527</c:v>
                      </c:pt>
                      <c:pt idx="154">
                        <c:v>0.88965517241379322</c:v>
                      </c:pt>
                      <c:pt idx="155">
                        <c:v>0.88965517241379322</c:v>
                      </c:pt>
                      <c:pt idx="156">
                        <c:v>0.89655172413793105</c:v>
                      </c:pt>
                      <c:pt idx="157">
                        <c:v>0.91724137931034488</c:v>
                      </c:pt>
                      <c:pt idx="158">
                        <c:v>0.92413793103448294</c:v>
                      </c:pt>
                      <c:pt idx="159">
                        <c:v>0.93103448275862066</c:v>
                      </c:pt>
                      <c:pt idx="160">
                        <c:v>0.93793103448275872</c:v>
                      </c:pt>
                      <c:pt idx="161">
                        <c:v>0.9517241379310345</c:v>
                      </c:pt>
                      <c:pt idx="162">
                        <c:v>0.95862068965517255</c:v>
                      </c:pt>
                      <c:pt idx="163">
                        <c:v>0.97241379310344833</c:v>
                      </c:pt>
                      <c:pt idx="164">
                        <c:v>0.97931034482758617</c:v>
                      </c:pt>
                      <c:pt idx="165">
                        <c:v>0.98620689655172422</c:v>
                      </c:pt>
                      <c:pt idx="166">
                        <c:v>1</c:v>
                      </c:pt>
                      <c:pt idx="167">
                        <c:v>1.0206896551724138</c:v>
                      </c:pt>
                      <c:pt idx="168">
                        <c:v>1.0344827586206897</c:v>
                      </c:pt>
                      <c:pt idx="169">
                        <c:v>1.0551724137931036</c:v>
                      </c:pt>
                      <c:pt idx="170">
                        <c:v>1.0482758620689654</c:v>
                      </c:pt>
                      <c:pt idx="171">
                        <c:v>1.0689655172413792</c:v>
                      </c:pt>
                      <c:pt idx="172">
                        <c:v>1.0758620689655174</c:v>
                      </c:pt>
                      <c:pt idx="173">
                        <c:v>1.0965517241379312</c:v>
                      </c:pt>
                      <c:pt idx="174">
                        <c:v>1.1241379310344828</c:v>
                      </c:pt>
                      <c:pt idx="175">
                        <c:v>1.1310344827586207</c:v>
                      </c:pt>
                      <c:pt idx="176">
                        <c:v>1.1586206896551725</c:v>
                      </c:pt>
                      <c:pt idx="177">
                        <c:v>1.1655172413793105</c:v>
                      </c:pt>
                      <c:pt idx="178">
                        <c:v>1.193103448275862</c:v>
                      </c:pt>
                      <c:pt idx="179">
                        <c:v>1.2206896551724138</c:v>
                      </c:pt>
                      <c:pt idx="180">
                        <c:v>1.2413793103448278</c:v>
                      </c:pt>
                      <c:pt idx="181">
                        <c:v>1.2827586206896551</c:v>
                      </c:pt>
                      <c:pt idx="182">
                        <c:v>1.2965517241379312</c:v>
                      </c:pt>
                      <c:pt idx="183">
                        <c:v>1.3310344827586207</c:v>
                      </c:pt>
                      <c:pt idx="184">
                        <c:v>1.3724137931034484</c:v>
                      </c:pt>
                      <c:pt idx="185">
                        <c:v>1.4275862068965517</c:v>
                      </c:pt>
                      <c:pt idx="186">
                        <c:v>1.4620689655172414</c:v>
                      </c:pt>
                      <c:pt idx="187">
                        <c:v>1.517241379310345</c:v>
                      </c:pt>
                      <c:pt idx="188">
                        <c:v>1.5517241379310347</c:v>
                      </c:pt>
                      <c:pt idx="189">
                        <c:v>1.5999999999999999</c:v>
                      </c:pt>
                      <c:pt idx="190">
                        <c:v>1.6413793103448275</c:v>
                      </c:pt>
                      <c:pt idx="191">
                        <c:v>1.6827586206896554</c:v>
                      </c:pt>
                      <c:pt idx="192">
                        <c:v>1.7310344827586206</c:v>
                      </c:pt>
                      <c:pt idx="193">
                        <c:v>1.7724137931034483</c:v>
                      </c:pt>
                      <c:pt idx="194">
                        <c:v>1.8206896551724139</c:v>
                      </c:pt>
                      <c:pt idx="195">
                        <c:v>1.8620689655172415</c:v>
                      </c:pt>
                      <c:pt idx="196">
                        <c:v>1.9103448275862069</c:v>
                      </c:pt>
                      <c:pt idx="197">
                        <c:v>1.9586206896551726</c:v>
                      </c:pt>
                      <c:pt idx="198">
                        <c:v>2.0206896551724141</c:v>
                      </c:pt>
                      <c:pt idx="199">
                        <c:v>2.0551724137931036</c:v>
                      </c:pt>
                      <c:pt idx="200">
                        <c:v>2.0965517241379312</c:v>
                      </c:pt>
                      <c:pt idx="201">
                        <c:v>2.1310344827586207</c:v>
                      </c:pt>
                      <c:pt idx="202">
                        <c:v>2.1862068965517243</c:v>
                      </c:pt>
                      <c:pt idx="203">
                        <c:v>2.2275862068965515</c:v>
                      </c:pt>
                      <c:pt idx="204">
                        <c:v>2.2689655172413796</c:v>
                      </c:pt>
                      <c:pt idx="205">
                        <c:v>2.3034482758620696</c:v>
                      </c:pt>
                      <c:pt idx="206">
                        <c:v>2.36551724137931</c:v>
                      </c:pt>
                      <c:pt idx="207">
                        <c:v>2.4068965517241385</c:v>
                      </c:pt>
                      <c:pt idx="208">
                        <c:v>2.4482758620689653</c:v>
                      </c:pt>
                      <c:pt idx="209">
                        <c:v>2.5034482758620689</c:v>
                      </c:pt>
                      <c:pt idx="210">
                        <c:v>2.5517241379310347</c:v>
                      </c:pt>
                      <c:pt idx="211">
                        <c:v>2.6068965517241378</c:v>
                      </c:pt>
                      <c:pt idx="212">
                        <c:v>2.6620689655172409</c:v>
                      </c:pt>
                      <c:pt idx="213">
                        <c:v>2.703448275862069</c:v>
                      </c:pt>
                      <c:pt idx="214">
                        <c:v>2.7517241379310349</c:v>
                      </c:pt>
                      <c:pt idx="215">
                        <c:v>2.8344827586206893</c:v>
                      </c:pt>
                      <c:pt idx="216">
                        <c:v>2.8896551724137933</c:v>
                      </c:pt>
                      <c:pt idx="217">
                        <c:v>2.9586206896551728</c:v>
                      </c:pt>
                      <c:pt idx="218">
                        <c:v>3.0413793103448272</c:v>
                      </c:pt>
                      <c:pt idx="219">
                        <c:v>0.6</c:v>
                      </c:pt>
                      <c:pt idx="220">
                        <c:v>4.1379310344827683E-2</c:v>
                      </c:pt>
                      <c:pt idx="221">
                        <c:v>3.4482758620689655E-2</c:v>
                      </c:pt>
                      <c:pt idx="222">
                        <c:v>3.4482758620689655E-2</c:v>
                      </c:pt>
                      <c:pt idx="223">
                        <c:v>4.1379310344827683E-2</c:v>
                      </c:pt>
                      <c:pt idx="224">
                        <c:v>3.4482758620689655E-2</c:v>
                      </c:pt>
                      <c:pt idx="225">
                        <c:v>3.4482758620689655E-2</c:v>
                      </c:pt>
                      <c:pt idx="226">
                        <c:v>3.4482758620689655E-2</c:v>
                      </c:pt>
                      <c:pt idx="227">
                        <c:v>3.4482758620689655E-2</c:v>
                      </c:pt>
                      <c:pt idx="228">
                        <c:v>4.1379310344827683E-2</c:v>
                      </c:pt>
                      <c:pt idx="229">
                        <c:v>3.4482758620689655E-2</c:v>
                      </c:pt>
                      <c:pt idx="230">
                        <c:v>3.4482758620689655E-2</c:v>
                      </c:pt>
                      <c:pt idx="231">
                        <c:v>3.4482758620689655E-2</c:v>
                      </c:pt>
                      <c:pt idx="232">
                        <c:v>4.1379310344827683E-2</c:v>
                      </c:pt>
                      <c:pt idx="233">
                        <c:v>4.1379310344827683E-2</c:v>
                      </c:pt>
                      <c:pt idx="234">
                        <c:v>3.4482758620689655E-2</c:v>
                      </c:pt>
                      <c:pt idx="235">
                        <c:v>3.4482758620689655E-2</c:v>
                      </c:pt>
                      <c:pt idx="236">
                        <c:v>3.4482758620689655E-2</c:v>
                      </c:pt>
                      <c:pt idx="237">
                        <c:v>3.4482758620689655E-2</c:v>
                      </c:pt>
                      <c:pt idx="238">
                        <c:v>3.4482758620689655E-2</c:v>
                      </c:pt>
                      <c:pt idx="239">
                        <c:v>3.4482758620689655E-2</c:v>
                      </c:pt>
                      <c:pt idx="240">
                        <c:v>4.1379310344827683E-2</c:v>
                      </c:pt>
                      <c:pt idx="241">
                        <c:v>4.1379310344827683E-2</c:v>
                      </c:pt>
                      <c:pt idx="242">
                        <c:v>4.1379310344827683E-2</c:v>
                      </c:pt>
                      <c:pt idx="243">
                        <c:v>4.1379310344827683E-2</c:v>
                      </c:pt>
                      <c:pt idx="244">
                        <c:v>4.8275862068965593E-2</c:v>
                      </c:pt>
                      <c:pt idx="245">
                        <c:v>4.1379310344827683E-2</c:v>
                      </c:pt>
                      <c:pt idx="246">
                        <c:v>4.8275862068965593E-2</c:v>
                      </c:pt>
                      <c:pt idx="247">
                        <c:v>4.8275862068965593E-2</c:v>
                      </c:pt>
                      <c:pt idx="248">
                        <c:v>4.8275862068965593E-2</c:v>
                      </c:pt>
                    </c:numCache>
                  </c:numRef>
                </c:yVal>
                <c:smooth val="0"/>
                <c:extLst xmlns:c15="http://schemas.microsoft.com/office/drawing/2012/chart">
                  <c:ext xmlns:c16="http://schemas.microsoft.com/office/drawing/2014/chart" uri="{C3380CC4-5D6E-409C-BE32-E72D297353CC}">
                    <c16:uniqueId val="{00000008-ED69-4A8E-A206-AA40F443BECF}"/>
                  </c:ext>
                </c:extLst>
              </c15:ser>
            </c15:filteredScatterSeries>
            <c15:filteredScatterSeries>
              <c15:ser>
                <c:idx val="9"/>
                <c:order val="9"/>
                <c:tx>
                  <c:strRef>
                    <c:extLst xmlns:c15="http://schemas.microsoft.com/office/drawing/2012/chart">
                      <c:ext xmlns:c15="http://schemas.microsoft.com/office/drawing/2012/chart" uri="{02D57815-91ED-43cb-92C2-25804820EDAC}">
                        <c15:formulaRef>
                          <c15:sqref>Data!$X$6</c15:sqref>
                        </c15:formulaRef>
                      </c:ext>
                    </c:extLst>
                    <c:strCache>
                      <c:ptCount val="1"/>
                      <c:pt idx="0">
                        <c:v>Chloride Contaminated Pressure</c:v>
                      </c:pt>
                    </c:strCache>
                  </c:strRef>
                </c:tx>
                <c:spPr>
                  <a:ln w="25400">
                    <a:solidFill>
                      <a:srgbClr val="FF00FF"/>
                    </a:solidFill>
                    <a:prstDash val="sysDot"/>
                  </a:ln>
                </c:spPr>
                <c:marker>
                  <c:symbol val="none"/>
                </c:marker>
                <c:xVal>
                  <c:numRef>
                    <c:extLst xmlns:c15="http://schemas.microsoft.com/office/drawing/2012/chart">
                      <c:ext xmlns:c15="http://schemas.microsoft.com/office/drawing/2012/chart" uri="{02D57815-91ED-43cb-92C2-25804820EDAC}">
                        <c15:formulaRef>
                          <c15:sqref>Data!$X$9:$X$510</c15:sqref>
                        </c15:formulaRef>
                      </c:ext>
                    </c:extLst>
                    <c:numCache>
                      <c:formatCode>General</c:formatCode>
                      <c:ptCount val="502"/>
                      <c:pt idx="0">
                        <c:v>-748</c:v>
                      </c:pt>
                      <c:pt idx="1">
                        <c:v>-747.96</c:v>
                      </c:pt>
                      <c:pt idx="2">
                        <c:v>-743</c:v>
                      </c:pt>
                      <c:pt idx="3">
                        <c:v>-738</c:v>
                      </c:pt>
                      <c:pt idx="4">
                        <c:v>-733</c:v>
                      </c:pt>
                      <c:pt idx="5">
                        <c:v>-728</c:v>
                      </c:pt>
                      <c:pt idx="6">
                        <c:v>-723</c:v>
                      </c:pt>
                      <c:pt idx="7">
                        <c:v>-718</c:v>
                      </c:pt>
                      <c:pt idx="8">
                        <c:v>-713</c:v>
                      </c:pt>
                      <c:pt idx="9">
                        <c:v>-708</c:v>
                      </c:pt>
                      <c:pt idx="10">
                        <c:v>-693.6</c:v>
                      </c:pt>
                      <c:pt idx="11">
                        <c:v>-688.6</c:v>
                      </c:pt>
                      <c:pt idx="12">
                        <c:v>-688</c:v>
                      </c:pt>
                      <c:pt idx="13">
                        <c:v>-683</c:v>
                      </c:pt>
                      <c:pt idx="14">
                        <c:v>-678</c:v>
                      </c:pt>
                      <c:pt idx="15">
                        <c:v>-677.81</c:v>
                      </c:pt>
                      <c:pt idx="16">
                        <c:v>-672.81</c:v>
                      </c:pt>
                      <c:pt idx="17">
                        <c:v>-671.8</c:v>
                      </c:pt>
                      <c:pt idx="18">
                        <c:v>-666.8</c:v>
                      </c:pt>
                      <c:pt idx="19">
                        <c:v>-661.8</c:v>
                      </c:pt>
                      <c:pt idx="20">
                        <c:v>-656.8</c:v>
                      </c:pt>
                      <c:pt idx="21">
                        <c:v>-651.79999999999995</c:v>
                      </c:pt>
                      <c:pt idx="22">
                        <c:v>-646.79999999999995</c:v>
                      </c:pt>
                      <c:pt idx="23">
                        <c:v>-641.79999999999995</c:v>
                      </c:pt>
                      <c:pt idx="24">
                        <c:v>-636.79999999999995</c:v>
                      </c:pt>
                      <c:pt idx="25">
                        <c:v>-631.79999999999995</c:v>
                      </c:pt>
                      <c:pt idx="26">
                        <c:v>-626.79999999999995</c:v>
                      </c:pt>
                      <c:pt idx="27">
                        <c:v>-621.79999999999995</c:v>
                      </c:pt>
                      <c:pt idx="28">
                        <c:v>-616.79999999999995</c:v>
                      </c:pt>
                      <c:pt idx="29">
                        <c:v>-611.79999999999995</c:v>
                      </c:pt>
                      <c:pt idx="30">
                        <c:v>-611.76</c:v>
                      </c:pt>
                      <c:pt idx="31">
                        <c:v>-606.79999999999995</c:v>
                      </c:pt>
                      <c:pt idx="32">
                        <c:v>-601.79999999999995</c:v>
                      </c:pt>
                      <c:pt idx="33">
                        <c:v>-601.61</c:v>
                      </c:pt>
                      <c:pt idx="34">
                        <c:v>-596.61</c:v>
                      </c:pt>
                      <c:pt idx="35">
                        <c:v>-595.29999999999995</c:v>
                      </c:pt>
                      <c:pt idx="36">
                        <c:v>-590.29999999999995</c:v>
                      </c:pt>
                      <c:pt idx="37">
                        <c:v>-585.29999999999995</c:v>
                      </c:pt>
                      <c:pt idx="38">
                        <c:v>-580.29999999999995</c:v>
                      </c:pt>
                      <c:pt idx="39">
                        <c:v>-575.29999999999995</c:v>
                      </c:pt>
                      <c:pt idx="40">
                        <c:v>-570.29999999999995</c:v>
                      </c:pt>
                      <c:pt idx="41">
                        <c:v>-565.29999999999995</c:v>
                      </c:pt>
                      <c:pt idx="42">
                        <c:v>-560.29999999999995</c:v>
                      </c:pt>
                      <c:pt idx="43">
                        <c:v>-555.29999999999995</c:v>
                      </c:pt>
                      <c:pt idx="44">
                        <c:v>-550.29999999999995</c:v>
                      </c:pt>
                      <c:pt idx="45">
                        <c:v>-545.29999999999995</c:v>
                      </c:pt>
                      <c:pt idx="46">
                        <c:v>-540.29999999999995</c:v>
                      </c:pt>
                      <c:pt idx="47">
                        <c:v>-535.29999999999995</c:v>
                      </c:pt>
                      <c:pt idx="48">
                        <c:v>-535.26</c:v>
                      </c:pt>
                      <c:pt idx="49">
                        <c:v>-530.29999999999995</c:v>
                      </c:pt>
                      <c:pt idx="50">
                        <c:v>-525.29999999999995</c:v>
                      </c:pt>
                      <c:pt idx="51">
                        <c:v>-525.13</c:v>
                      </c:pt>
                      <c:pt idx="52">
                        <c:v>-520.13</c:v>
                      </c:pt>
                      <c:pt idx="53">
                        <c:v>-518.9</c:v>
                      </c:pt>
                      <c:pt idx="54">
                        <c:v>-513.9</c:v>
                      </c:pt>
                      <c:pt idx="55">
                        <c:v>-508.9</c:v>
                      </c:pt>
                      <c:pt idx="56">
                        <c:v>-503.9</c:v>
                      </c:pt>
                      <c:pt idx="57">
                        <c:v>-498.9</c:v>
                      </c:pt>
                      <c:pt idx="58">
                        <c:v>-493.9</c:v>
                      </c:pt>
                      <c:pt idx="59">
                        <c:v>-488.9</c:v>
                      </c:pt>
                      <c:pt idx="60">
                        <c:v>-483.9</c:v>
                      </c:pt>
                      <c:pt idx="61">
                        <c:v>-478.9</c:v>
                      </c:pt>
                      <c:pt idx="62">
                        <c:v>-473.9</c:v>
                      </c:pt>
                      <c:pt idx="63">
                        <c:v>-468.9</c:v>
                      </c:pt>
                      <c:pt idx="64">
                        <c:v>-463.9</c:v>
                      </c:pt>
                      <c:pt idx="65">
                        <c:v>-458.9</c:v>
                      </c:pt>
                      <c:pt idx="66">
                        <c:v>-458.86</c:v>
                      </c:pt>
                      <c:pt idx="67">
                        <c:v>-453.9</c:v>
                      </c:pt>
                      <c:pt idx="68">
                        <c:v>-448.9</c:v>
                      </c:pt>
                      <c:pt idx="69">
                        <c:v>-448.83</c:v>
                      </c:pt>
                      <c:pt idx="70">
                        <c:v>-443.83</c:v>
                      </c:pt>
                      <c:pt idx="71">
                        <c:v>-442.22</c:v>
                      </c:pt>
                      <c:pt idx="72">
                        <c:v>-437.22</c:v>
                      </c:pt>
                      <c:pt idx="73">
                        <c:v>-432.22</c:v>
                      </c:pt>
                      <c:pt idx="74">
                        <c:v>-427.22</c:v>
                      </c:pt>
                      <c:pt idx="75">
                        <c:v>-422.22</c:v>
                      </c:pt>
                      <c:pt idx="76">
                        <c:v>-417.22</c:v>
                      </c:pt>
                      <c:pt idx="77">
                        <c:v>-412.22</c:v>
                      </c:pt>
                      <c:pt idx="78">
                        <c:v>-407.22</c:v>
                      </c:pt>
                      <c:pt idx="79">
                        <c:v>-402.22</c:v>
                      </c:pt>
                      <c:pt idx="80">
                        <c:v>-397.22</c:v>
                      </c:pt>
                      <c:pt idx="81">
                        <c:v>-392.22</c:v>
                      </c:pt>
                      <c:pt idx="82">
                        <c:v>-387.22</c:v>
                      </c:pt>
                      <c:pt idx="83">
                        <c:v>-382.22</c:v>
                      </c:pt>
                      <c:pt idx="84">
                        <c:v>-382.18</c:v>
                      </c:pt>
                      <c:pt idx="85">
                        <c:v>-377.22</c:v>
                      </c:pt>
                      <c:pt idx="86">
                        <c:v>-373.05</c:v>
                      </c:pt>
                      <c:pt idx="87">
                        <c:v>-368.05</c:v>
                      </c:pt>
                      <c:pt idx="88">
                        <c:v>-366.36</c:v>
                      </c:pt>
                      <c:pt idx="89">
                        <c:v>-361.36</c:v>
                      </c:pt>
                      <c:pt idx="90">
                        <c:v>-356.36</c:v>
                      </c:pt>
                      <c:pt idx="91">
                        <c:v>-351.36</c:v>
                      </c:pt>
                      <c:pt idx="92">
                        <c:v>-346.36</c:v>
                      </c:pt>
                      <c:pt idx="93">
                        <c:v>-341.36</c:v>
                      </c:pt>
                      <c:pt idx="94">
                        <c:v>-336.36</c:v>
                      </c:pt>
                      <c:pt idx="95">
                        <c:v>-331.36</c:v>
                      </c:pt>
                      <c:pt idx="96">
                        <c:v>-326.36</c:v>
                      </c:pt>
                      <c:pt idx="97">
                        <c:v>-321.36</c:v>
                      </c:pt>
                      <c:pt idx="98">
                        <c:v>-316.36</c:v>
                      </c:pt>
                      <c:pt idx="99">
                        <c:v>-311.36</c:v>
                      </c:pt>
                      <c:pt idx="100">
                        <c:v>-306.36</c:v>
                      </c:pt>
                      <c:pt idx="101">
                        <c:v>-306.32</c:v>
                      </c:pt>
                      <c:pt idx="102">
                        <c:v>-301.36</c:v>
                      </c:pt>
                      <c:pt idx="103">
                        <c:v>-296.36</c:v>
                      </c:pt>
                      <c:pt idx="104">
                        <c:v>-291.36</c:v>
                      </c:pt>
                      <c:pt idx="105">
                        <c:v>-287.75</c:v>
                      </c:pt>
                      <c:pt idx="106">
                        <c:v>-282.75</c:v>
                      </c:pt>
                      <c:pt idx="107">
                        <c:v>-277.75</c:v>
                      </c:pt>
                      <c:pt idx="108">
                        <c:v>-275.14999999999998</c:v>
                      </c:pt>
                      <c:pt idx="109">
                        <c:v>-275.08999999999997</c:v>
                      </c:pt>
                      <c:pt idx="110">
                        <c:v>-270.08999999999997</c:v>
                      </c:pt>
                      <c:pt idx="111">
                        <c:v>-268.7</c:v>
                      </c:pt>
                      <c:pt idx="112">
                        <c:v>-263.7</c:v>
                      </c:pt>
                      <c:pt idx="113">
                        <c:v>-258.7</c:v>
                      </c:pt>
                      <c:pt idx="114">
                        <c:v>-253.7</c:v>
                      </c:pt>
                      <c:pt idx="115">
                        <c:v>-248.7</c:v>
                      </c:pt>
                      <c:pt idx="116">
                        <c:v>-243.7</c:v>
                      </c:pt>
                      <c:pt idx="117">
                        <c:v>-238.7</c:v>
                      </c:pt>
                      <c:pt idx="118">
                        <c:v>-233.70000000000005</c:v>
                      </c:pt>
                      <c:pt idx="119">
                        <c:v>-228.70000000000005</c:v>
                      </c:pt>
                      <c:pt idx="120">
                        <c:v>-223.70000000000005</c:v>
                      </c:pt>
                      <c:pt idx="121">
                        <c:v>-218.70000000000005</c:v>
                      </c:pt>
                      <c:pt idx="122">
                        <c:v>-213.70000000000005</c:v>
                      </c:pt>
                      <c:pt idx="123">
                        <c:v>-208.70000000000005</c:v>
                      </c:pt>
                      <c:pt idx="124">
                        <c:v>-208.65999999999997</c:v>
                      </c:pt>
                      <c:pt idx="125">
                        <c:v>-203.70000000000005</c:v>
                      </c:pt>
                      <c:pt idx="126">
                        <c:v>-198.70000000000005</c:v>
                      </c:pt>
                      <c:pt idx="127">
                        <c:v>-193.70000000000005</c:v>
                      </c:pt>
                      <c:pt idx="128">
                        <c:v>-188.70000000000005</c:v>
                      </c:pt>
                      <c:pt idx="129">
                        <c:v>-185.49</c:v>
                      </c:pt>
                      <c:pt idx="130">
                        <c:v>-180.49</c:v>
                      </c:pt>
                      <c:pt idx="131">
                        <c:v>-175.49</c:v>
                      </c:pt>
                      <c:pt idx="132">
                        <c:v>-172.89</c:v>
                      </c:pt>
                      <c:pt idx="133">
                        <c:v>-172.83000000000004</c:v>
                      </c:pt>
                      <c:pt idx="134">
                        <c:v>-167.83000000000004</c:v>
                      </c:pt>
                      <c:pt idx="135">
                        <c:v>-165.98000000000002</c:v>
                      </c:pt>
                      <c:pt idx="136">
                        <c:v>-160.98000000000002</c:v>
                      </c:pt>
                      <c:pt idx="137">
                        <c:v>-155.98000000000002</c:v>
                      </c:pt>
                      <c:pt idx="138">
                        <c:v>-150.98000000000002</c:v>
                      </c:pt>
                      <c:pt idx="139">
                        <c:v>-145.98000000000002</c:v>
                      </c:pt>
                      <c:pt idx="140">
                        <c:v>-140.98000000000002</c:v>
                      </c:pt>
                      <c:pt idx="141">
                        <c:v>-135.98000000000002</c:v>
                      </c:pt>
                      <c:pt idx="142">
                        <c:v>-130.98000000000002</c:v>
                      </c:pt>
                      <c:pt idx="143">
                        <c:v>-125.98000000000002</c:v>
                      </c:pt>
                      <c:pt idx="144">
                        <c:v>-120.98000000000002</c:v>
                      </c:pt>
                      <c:pt idx="145">
                        <c:v>-115.98000000000002</c:v>
                      </c:pt>
                      <c:pt idx="146">
                        <c:v>-110.98000000000002</c:v>
                      </c:pt>
                      <c:pt idx="147">
                        <c:v>-105.98000000000002</c:v>
                      </c:pt>
                      <c:pt idx="148">
                        <c:v>-105.94000000000005</c:v>
                      </c:pt>
                      <c:pt idx="149">
                        <c:v>-100.98000000000002</c:v>
                      </c:pt>
                      <c:pt idx="150">
                        <c:v>-95.980000000000018</c:v>
                      </c:pt>
                      <c:pt idx="151">
                        <c:v>-95.940000000000055</c:v>
                      </c:pt>
                      <c:pt idx="152">
                        <c:v>-90.940000000000055</c:v>
                      </c:pt>
                      <c:pt idx="153">
                        <c:v>-88.639999999999986</c:v>
                      </c:pt>
                      <c:pt idx="154">
                        <c:v>-83.639999999999986</c:v>
                      </c:pt>
                      <c:pt idx="155">
                        <c:v>-78.639999999999986</c:v>
                      </c:pt>
                      <c:pt idx="156">
                        <c:v>-73.639999999999986</c:v>
                      </c:pt>
                      <c:pt idx="157">
                        <c:v>-68.639999999999986</c:v>
                      </c:pt>
                      <c:pt idx="158">
                        <c:v>-63.639999999999986</c:v>
                      </c:pt>
                      <c:pt idx="159">
                        <c:v>-58.639999999999986</c:v>
                      </c:pt>
                      <c:pt idx="160">
                        <c:v>-53.639999999999986</c:v>
                      </c:pt>
                      <c:pt idx="161">
                        <c:v>-48.639999999999986</c:v>
                      </c:pt>
                      <c:pt idx="162">
                        <c:v>-43.639999999999986</c:v>
                      </c:pt>
                      <c:pt idx="163">
                        <c:v>-38.639999999999986</c:v>
                      </c:pt>
                      <c:pt idx="164">
                        <c:v>-33.639999999999986</c:v>
                      </c:pt>
                      <c:pt idx="165">
                        <c:v>-28.639999999999986</c:v>
                      </c:pt>
                      <c:pt idx="166">
                        <c:v>-28.600000000000023</c:v>
                      </c:pt>
                      <c:pt idx="167">
                        <c:v>-23.639999999999986</c:v>
                      </c:pt>
                      <c:pt idx="168">
                        <c:v>-18.639999999999986</c:v>
                      </c:pt>
                      <c:pt idx="169">
                        <c:v>-13.639999999999986</c:v>
                      </c:pt>
                      <c:pt idx="170">
                        <c:v>-8.6399999999999864</c:v>
                      </c:pt>
                      <c:pt idx="171">
                        <c:v>-8.25</c:v>
                      </c:pt>
                      <c:pt idx="172">
                        <c:v>-3.25</c:v>
                      </c:pt>
                      <c:pt idx="173">
                        <c:v>-0.10000000000002274</c:v>
                      </c:pt>
                      <c:pt idx="174">
                        <c:v>4.8999999999999773</c:v>
                      </c:pt>
                      <c:pt idx="175">
                        <c:v>9.8999999999999773</c:v>
                      </c:pt>
                      <c:pt idx="176">
                        <c:v>14.899999999999977</c:v>
                      </c:pt>
                      <c:pt idx="177">
                        <c:v>19.899999999999977</c:v>
                      </c:pt>
                      <c:pt idx="178">
                        <c:v>24.899999999999977</c:v>
                      </c:pt>
                      <c:pt idx="179">
                        <c:v>29.899999999999977</c:v>
                      </c:pt>
                      <c:pt idx="180">
                        <c:v>34.899999999999977</c:v>
                      </c:pt>
                      <c:pt idx="181">
                        <c:v>39.899999999999977</c:v>
                      </c:pt>
                      <c:pt idx="182">
                        <c:v>44.899999999999977</c:v>
                      </c:pt>
                      <c:pt idx="183">
                        <c:v>49.899999999999977</c:v>
                      </c:pt>
                      <c:pt idx="184">
                        <c:v>54.899999999999977</c:v>
                      </c:pt>
                      <c:pt idx="185">
                        <c:v>59.899999999999977</c:v>
                      </c:pt>
                      <c:pt idx="186">
                        <c:v>59.940000000000055</c:v>
                      </c:pt>
                      <c:pt idx="187">
                        <c:v>64.899999999999977</c:v>
                      </c:pt>
                      <c:pt idx="188">
                        <c:v>69.899999999999977</c:v>
                      </c:pt>
                      <c:pt idx="189">
                        <c:v>73.769999999999982</c:v>
                      </c:pt>
                      <c:pt idx="190">
                        <c:v>78.769999999999982</c:v>
                      </c:pt>
                      <c:pt idx="191">
                        <c:v>83.25</c:v>
                      </c:pt>
                      <c:pt idx="192">
                        <c:v>88.25</c:v>
                      </c:pt>
                      <c:pt idx="193">
                        <c:v>89.92999999999995</c:v>
                      </c:pt>
                      <c:pt idx="194">
                        <c:v>94.92999999999995</c:v>
                      </c:pt>
                      <c:pt idx="195">
                        <c:v>97.230000000000018</c:v>
                      </c:pt>
                      <c:pt idx="196">
                        <c:v>102.23000000000002</c:v>
                      </c:pt>
                      <c:pt idx="197">
                        <c:v>102.30999999999995</c:v>
                      </c:pt>
                      <c:pt idx="198">
                        <c:v>107.30999999999995</c:v>
                      </c:pt>
                      <c:pt idx="199">
                        <c:v>108.57000000000005</c:v>
                      </c:pt>
                      <c:pt idx="200">
                        <c:v>113.25</c:v>
                      </c:pt>
                      <c:pt idx="201">
                        <c:v>118.09000000000003</c:v>
                      </c:pt>
                      <c:pt idx="202">
                        <c:v>122.38999999999999</c:v>
                      </c:pt>
                      <c:pt idx="203">
                        <c:v>126.52999999999997</c:v>
                      </c:pt>
                      <c:pt idx="204">
                        <c:v>130.26999999999998</c:v>
                      </c:pt>
                      <c:pt idx="205">
                        <c:v>134.83000000000004</c:v>
                      </c:pt>
                      <c:pt idx="206">
                        <c:v>137.07000000000005</c:v>
                      </c:pt>
                      <c:pt idx="207">
                        <c:v>142.07000000000005</c:v>
                      </c:pt>
                      <c:pt idx="208">
                        <c:v>142.21000000000004</c:v>
                      </c:pt>
                      <c:pt idx="209">
                        <c:v>144.75</c:v>
                      </c:pt>
                      <c:pt idx="210">
                        <c:v>148.19000000000005</c:v>
                      </c:pt>
                      <c:pt idx="211">
                        <c:v>151.30999999999995</c:v>
                      </c:pt>
                      <c:pt idx="212">
                        <c:v>153.78999999999996</c:v>
                      </c:pt>
                      <c:pt idx="213">
                        <c:v>158.59000000000003</c:v>
                      </c:pt>
                      <c:pt idx="214">
                        <c:v>160.88999999999999</c:v>
                      </c:pt>
                      <c:pt idx="215">
                        <c:v>165.09000000000003</c:v>
                      </c:pt>
                      <c:pt idx="216">
                        <c:v>167.49</c:v>
                      </c:pt>
                      <c:pt idx="217">
                        <c:v>172.11</c:v>
                      </c:pt>
                      <c:pt idx="218">
                        <c:v>174.61</c:v>
                      </c:pt>
                      <c:pt idx="219">
                        <c:v>176.83000000000004</c:v>
                      </c:pt>
                      <c:pt idx="220">
                        <c:v>180.47000000000003</c:v>
                      </c:pt>
                      <c:pt idx="221">
                        <c:v>182.71000000000004</c:v>
                      </c:pt>
                      <c:pt idx="222">
                        <c:v>185.59000000000003</c:v>
                      </c:pt>
                      <c:pt idx="223">
                        <c:v>187.51</c:v>
                      </c:pt>
                      <c:pt idx="224">
                        <c:v>190.47000000000003</c:v>
                      </c:pt>
                      <c:pt idx="225">
                        <c:v>193.23000000000002</c:v>
                      </c:pt>
                      <c:pt idx="226">
                        <c:v>195.35000000000002</c:v>
                      </c:pt>
                      <c:pt idx="227">
                        <c:v>198.14999999999998</c:v>
                      </c:pt>
                      <c:pt idx="228">
                        <c:v>200.14999999999998</c:v>
                      </c:pt>
                      <c:pt idx="229">
                        <c:v>202.59000000000003</c:v>
                      </c:pt>
                      <c:pt idx="230">
                        <c:v>204.83000000000004</c:v>
                      </c:pt>
                      <c:pt idx="231">
                        <c:v>208.35000000000002</c:v>
                      </c:pt>
                      <c:pt idx="232">
                        <c:v>210.02999999999997</c:v>
                      </c:pt>
                      <c:pt idx="233">
                        <c:v>211.71000000000004</c:v>
                      </c:pt>
                      <c:pt idx="234">
                        <c:v>214.59000000000003</c:v>
                      </c:pt>
                      <c:pt idx="235">
                        <c:v>216.51</c:v>
                      </c:pt>
                      <c:pt idx="236">
                        <c:v>219.23000000000002</c:v>
                      </c:pt>
                      <c:pt idx="237">
                        <c:v>221.30999999999995</c:v>
                      </c:pt>
                      <c:pt idx="238">
                        <c:v>223.95000000000005</c:v>
                      </c:pt>
                      <c:pt idx="239">
                        <c:v>225.78999999999996</c:v>
                      </c:pt>
                      <c:pt idx="240">
                        <c:v>228.66999999999996</c:v>
                      </c:pt>
                      <c:pt idx="241">
                        <c:v>230.26999999999998</c:v>
                      </c:pt>
                      <c:pt idx="242">
                        <c:v>232.76999999999998</c:v>
                      </c:pt>
                      <c:pt idx="243">
                        <c:v>234.37</c:v>
                      </c:pt>
                      <c:pt idx="244">
                        <c:v>235.97000000000003</c:v>
                      </c:pt>
                      <c:pt idx="245">
                        <c:v>238.25</c:v>
                      </c:pt>
                      <c:pt idx="246">
                        <c:v>240.13</c:v>
                      </c:pt>
                      <c:pt idx="247">
                        <c:v>243.09000000000003</c:v>
                      </c:pt>
                      <c:pt idx="248">
                        <c:v>244.61</c:v>
                      </c:pt>
                      <c:pt idx="249">
                        <c:v>246.99</c:v>
                      </c:pt>
                      <c:pt idx="250">
                        <c:v>248.51</c:v>
                      </c:pt>
                      <c:pt idx="251">
                        <c:v>250.54999999999995</c:v>
                      </c:pt>
                      <c:pt idx="252">
                        <c:v>252.02999999999997</c:v>
                      </c:pt>
                      <c:pt idx="253">
                        <c:v>253.76999999999998</c:v>
                      </c:pt>
                      <c:pt idx="254">
                        <c:v>256.25</c:v>
                      </c:pt>
                      <c:pt idx="255">
                        <c:v>257.69000000000005</c:v>
                      </c:pt>
                      <c:pt idx="256">
                        <c:v>259.54999999999995</c:v>
                      </c:pt>
                      <c:pt idx="257">
                        <c:v>261.16999999999996</c:v>
                      </c:pt>
                      <c:pt idx="258">
                        <c:v>263.39</c:v>
                      </c:pt>
                      <c:pt idx="259">
                        <c:v>264.71000000000004</c:v>
                      </c:pt>
                      <c:pt idx="260">
                        <c:v>266.63</c:v>
                      </c:pt>
                      <c:pt idx="261">
                        <c:v>267.77</c:v>
                      </c:pt>
                      <c:pt idx="262">
                        <c:v>269.45000000000005</c:v>
                      </c:pt>
                      <c:pt idx="263">
                        <c:v>270.52999999999997</c:v>
                      </c:pt>
                      <c:pt idx="264">
                        <c:v>271.66999999999996</c:v>
                      </c:pt>
                      <c:pt idx="265">
                        <c:v>273.40999999999997</c:v>
                      </c:pt>
                      <c:pt idx="266">
                        <c:v>274.49</c:v>
                      </c:pt>
                      <c:pt idx="267">
                        <c:v>275.39</c:v>
                      </c:pt>
                      <c:pt idx="268">
                        <c:v>276.63000000000011</c:v>
                      </c:pt>
                      <c:pt idx="269">
                        <c:v>277.51</c:v>
                      </c:pt>
                      <c:pt idx="270">
                        <c:v>278.80999999999995</c:v>
                      </c:pt>
                      <c:pt idx="271">
                        <c:v>279.67000000000007</c:v>
                      </c:pt>
                      <c:pt idx="272">
                        <c:v>280.82999999999993</c:v>
                      </c:pt>
                      <c:pt idx="273">
                        <c:v>281.54999999999995</c:v>
                      </c:pt>
                      <c:pt idx="274">
                        <c:v>282.27</c:v>
                      </c:pt>
                      <c:pt idx="275">
                        <c:v>283.27</c:v>
                      </c:pt>
                      <c:pt idx="276">
                        <c:v>283.91000000000008</c:v>
                      </c:pt>
                      <c:pt idx="277">
                        <c:v>284.54999999999995</c:v>
                      </c:pt>
                      <c:pt idx="278">
                        <c:v>285.3900000000001</c:v>
                      </c:pt>
                      <c:pt idx="279">
                        <c:v>285.95000000000005</c:v>
                      </c:pt>
                      <c:pt idx="280">
                        <c:v>286.75</c:v>
                      </c:pt>
                      <c:pt idx="281">
                        <c:v>287.27</c:v>
                      </c:pt>
                      <c:pt idx="282">
                        <c:v>287.75</c:v>
                      </c:pt>
                      <c:pt idx="283">
                        <c:v>288.47000000000003</c:v>
                      </c:pt>
                      <c:pt idx="284">
                        <c:v>288.91000000000008</c:v>
                      </c:pt>
                      <c:pt idx="285">
                        <c:v>289.56999999999994</c:v>
                      </c:pt>
                      <c:pt idx="286">
                        <c:v>290.04999999999995</c:v>
                      </c:pt>
                      <c:pt idx="287">
                        <c:v>290.52999999999997</c:v>
                      </c:pt>
                      <c:pt idx="288">
                        <c:v>290.97000000000003</c:v>
                      </c:pt>
                      <c:pt idx="289">
                        <c:v>291.52999999999997</c:v>
                      </c:pt>
                      <c:pt idx="290">
                        <c:v>291.91000000000008</c:v>
                      </c:pt>
                      <c:pt idx="291">
                        <c:v>292.47000000000003</c:v>
                      </c:pt>
                      <c:pt idx="292">
                        <c:v>292.82999999999993</c:v>
                      </c:pt>
                      <c:pt idx="293">
                        <c:v>293.34999999999991</c:v>
                      </c:pt>
                      <c:pt idx="294">
                        <c:v>293.69000000000005</c:v>
                      </c:pt>
                      <c:pt idx="295">
                        <c:v>294.21000000000004</c:v>
                      </c:pt>
                      <c:pt idx="296">
                        <c:v>294.54999999999995</c:v>
                      </c:pt>
                      <c:pt idx="297">
                        <c:v>294.86999999999989</c:v>
                      </c:pt>
                      <c:pt idx="298">
                        <c:v>295.36999999999989</c:v>
                      </c:pt>
                      <c:pt idx="299">
                        <c:v>295.69000000000005</c:v>
                      </c:pt>
                      <c:pt idx="300">
                        <c:v>296.02999999999997</c:v>
                      </c:pt>
                      <c:pt idx="301">
                        <c:v>296.49</c:v>
                      </c:pt>
                      <c:pt idx="302">
                        <c:v>296.77</c:v>
                      </c:pt>
                      <c:pt idx="303">
                        <c:v>297.21000000000004</c:v>
                      </c:pt>
                      <c:pt idx="304">
                        <c:v>297.51</c:v>
                      </c:pt>
                      <c:pt idx="305">
                        <c:v>297.93000000000006</c:v>
                      </c:pt>
                      <c:pt idx="306">
                        <c:v>298.21000000000004</c:v>
                      </c:pt>
                      <c:pt idx="307">
                        <c:v>298.49</c:v>
                      </c:pt>
                      <c:pt idx="308">
                        <c:v>298.93000000000006</c:v>
                      </c:pt>
                      <c:pt idx="309">
                        <c:v>299.21000000000004</c:v>
                      </c:pt>
                      <c:pt idx="310">
                        <c:v>299.49</c:v>
                      </c:pt>
                      <c:pt idx="311">
                        <c:v>299.91000000000008</c:v>
                      </c:pt>
                      <c:pt idx="312">
                        <c:v>300.17000000000007</c:v>
                      </c:pt>
                      <c:pt idx="313">
                        <c:v>300.41000000000008</c:v>
                      </c:pt>
                      <c:pt idx="314">
                        <c:v>300.78999999999996</c:v>
                      </c:pt>
                      <c:pt idx="315">
                        <c:v>301.06999999999994</c:v>
                      </c:pt>
                      <c:pt idx="316">
                        <c:v>301.30999999999995</c:v>
                      </c:pt>
                      <c:pt idx="317">
                        <c:v>301.67000000000007</c:v>
                      </c:pt>
                      <c:pt idx="318">
                        <c:v>301.91000000000008</c:v>
                      </c:pt>
                      <c:pt idx="319">
                        <c:v>302.15000000000009</c:v>
                      </c:pt>
                      <c:pt idx="320">
                        <c:v>302.51</c:v>
                      </c:pt>
                      <c:pt idx="321">
                        <c:v>302.75</c:v>
                      </c:pt>
                      <c:pt idx="322">
                        <c:v>302.95000000000005</c:v>
                      </c:pt>
                      <c:pt idx="323">
                        <c:v>303.15000000000009</c:v>
                      </c:pt>
                      <c:pt idx="324">
                        <c:v>303.45000000000005</c:v>
                      </c:pt>
                      <c:pt idx="325">
                        <c:v>303.65000000000009</c:v>
                      </c:pt>
                      <c:pt idx="326">
                        <c:v>303.84999999999991</c:v>
                      </c:pt>
                      <c:pt idx="327">
                        <c:v>304.15000000000009</c:v>
                      </c:pt>
                      <c:pt idx="328">
                        <c:v>304.34999999999991</c:v>
                      </c:pt>
                      <c:pt idx="329">
                        <c:v>304.54999999999995</c:v>
                      </c:pt>
                      <c:pt idx="330">
                        <c:v>304.73</c:v>
                      </c:pt>
                      <c:pt idx="331">
                        <c:v>304.91000000000008</c:v>
                      </c:pt>
                      <c:pt idx="332">
                        <c:v>305.06999999999994</c:v>
                      </c:pt>
                      <c:pt idx="333">
                        <c:v>305.30999999999995</c:v>
                      </c:pt>
                      <c:pt idx="334">
                        <c:v>305.47000000000003</c:v>
                      </c:pt>
                      <c:pt idx="335">
                        <c:v>305.63000000000011</c:v>
                      </c:pt>
                      <c:pt idx="336">
                        <c:v>305.77</c:v>
                      </c:pt>
                      <c:pt idx="337">
                        <c:v>305.93000000000006</c:v>
                      </c:pt>
                      <c:pt idx="338">
                        <c:v>306.15000000000009</c:v>
                      </c:pt>
                      <c:pt idx="339">
                        <c:v>306.27</c:v>
                      </c:pt>
                      <c:pt idx="340">
                        <c:v>306.3900000000001</c:v>
                      </c:pt>
                      <c:pt idx="341">
                        <c:v>306.51</c:v>
                      </c:pt>
                      <c:pt idx="342">
                        <c:v>306.69000000000005</c:v>
                      </c:pt>
                      <c:pt idx="343">
                        <c:v>306.80999999999995</c:v>
                      </c:pt>
                      <c:pt idx="344">
                        <c:v>306.93000000000006</c:v>
                      </c:pt>
                      <c:pt idx="345">
                        <c:v>307.04999999999995</c:v>
                      </c:pt>
                      <c:pt idx="346">
                        <c:v>307.15000000000009</c:v>
                      </c:pt>
                      <c:pt idx="347">
                        <c:v>307.21000000000004</c:v>
                      </c:pt>
                      <c:pt idx="348">
                        <c:v>307.32999999999993</c:v>
                      </c:pt>
                      <c:pt idx="349">
                        <c:v>307.41000000000008</c:v>
                      </c:pt>
                      <c:pt idx="350">
                        <c:v>307.45000000000005</c:v>
                      </c:pt>
                      <c:pt idx="351">
                        <c:v>307.52999999999997</c:v>
                      </c:pt>
                      <c:pt idx="352">
                        <c:v>307.56999999999994</c:v>
                      </c:pt>
                      <c:pt idx="353">
                        <c:v>307.6099999999999</c:v>
                      </c:pt>
                      <c:pt idx="354">
                        <c:v>307.67000000000007</c:v>
                      </c:pt>
                      <c:pt idx="355">
                        <c:v>307.71000000000004</c:v>
                      </c:pt>
                      <c:pt idx="356">
                        <c:v>307.73</c:v>
                      </c:pt>
                      <c:pt idx="357">
                        <c:v>307.77</c:v>
                      </c:pt>
                      <c:pt idx="358">
                        <c:v>307.80999999999995</c:v>
                      </c:pt>
                      <c:pt idx="359">
                        <c:v>307.84999999999991</c:v>
                      </c:pt>
                      <c:pt idx="360">
                        <c:v>307.86999999999989</c:v>
                      </c:pt>
                      <c:pt idx="361">
                        <c:v>307.91000000000008</c:v>
                      </c:pt>
                      <c:pt idx="362">
                        <c:v>307.95000000000005</c:v>
                      </c:pt>
                      <c:pt idx="363">
                        <c:v>307.97000000000003</c:v>
                      </c:pt>
                      <c:pt idx="364">
                        <c:v>308.01</c:v>
                      </c:pt>
                      <c:pt idx="365">
                        <c:v>308.02999999999997</c:v>
                      </c:pt>
                      <c:pt idx="366">
                        <c:v>308.06999999999994</c:v>
                      </c:pt>
                      <c:pt idx="367">
                        <c:v>308.08999999999992</c:v>
                      </c:pt>
                      <c:pt idx="368">
                        <c:v>308.1099999999999</c:v>
                      </c:pt>
                      <c:pt idx="369">
                        <c:v>308.13000000000011</c:v>
                      </c:pt>
                      <c:pt idx="370">
                        <c:v>308.17000000000007</c:v>
                      </c:pt>
                      <c:pt idx="371">
                        <c:v>308.19000000000005</c:v>
                      </c:pt>
                      <c:pt idx="372">
                        <c:v>308.21000000000004</c:v>
                      </c:pt>
                      <c:pt idx="373">
                        <c:v>308.23</c:v>
                      </c:pt>
                      <c:pt idx="374">
                        <c:v>308.25</c:v>
                      </c:pt>
                      <c:pt idx="375">
                        <c:v>308.27</c:v>
                      </c:pt>
                      <c:pt idx="376">
                        <c:v>308.28999999999996</c:v>
                      </c:pt>
                      <c:pt idx="377">
                        <c:v>308.30999999999995</c:v>
                      </c:pt>
                      <c:pt idx="378">
                        <c:v>308.32999999999993</c:v>
                      </c:pt>
                      <c:pt idx="379">
                        <c:v>308.34999999999991</c:v>
                      </c:pt>
                      <c:pt idx="380">
                        <c:v>308.36999999999989</c:v>
                      </c:pt>
                      <c:pt idx="381">
                        <c:v>308.3900000000001</c:v>
                      </c:pt>
                      <c:pt idx="382">
                        <c:v>308.41000000000008</c:v>
                      </c:pt>
                      <c:pt idx="383">
                        <c:v>308.43000000000006</c:v>
                      </c:pt>
                      <c:pt idx="384">
                        <c:v>308.45000000000005</c:v>
                      </c:pt>
                      <c:pt idx="385">
                        <c:v>308.47000000000003</c:v>
                      </c:pt>
                      <c:pt idx="386">
                        <c:v>308.49</c:v>
                      </c:pt>
                      <c:pt idx="387">
                        <c:v>308.51</c:v>
                      </c:pt>
                      <c:pt idx="388">
                        <c:v>308.52999999999997</c:v>
                      </c:pt>
                      <c:pt idx="389">
                        <c:v>308.54999999999995</c:v>
                      </c:pt>
                      <c:pt idx="390">
                        <c:v>308.56999999999994</c:v>
                      </c:pt>
                      <c:pt idx="391">
                        <c:v>308.58999999999992</c:v>
                      </c:pt>
                      <c:pt idx="392">
                        <c:v>308.6099999999999</c:v>
                      </c:pt>
                      <c:pt idx="393">
                        <c:v>308.63000000000011</c:v>
                      </c:pt>
                      <c:pt idx="394">
                        <c:v>308.65000000000009</c:v>
                      </c:pt>
                      <c:pt idx="395">
                        <c:v>308.67000000000007</c:v>
                      </c:pt>
                      <c:pt idx="396">
                        <c:v>308.69000000000005</c:v>
                      </c:pt>
                      <c:pt idx="397">
                        <c:v>308.71000000000004</c:v>
                      </c:pt>
                      <c:pt idx="398">
                        <c:v>308.73</c:v>
                      </c:pt>
                      <c:pt idx="399">
                        <c:v>308.75</c:v>
                      </c:pt>
                      <c:pt idx="400">
                        <c:v>308.77</c:v>
                      </c:pt>
                      <c:pt idx="401">
                        <c:v>308.78999999999996</c:v>
                      </c:pt>
                      <c:pt idx="402">
                        <c:v>308.80999999999995</c:v>
                      </c:pt>
                      <c:pt idx="403">
                        <c:v>308.82999999999993</c:v>
                      </c:pt>
                      <c:pt idx="404">
                        <c:v>308.84999999999991</c:v>
                      </c:pt>
                      <c:pt idx="405">
                        <c:v>308.86999999999989</c:v>
                      </c:pt>
                      <c:pt idx="406">
                        <c:v>308.8900000000001</c:v>
                      </c:pt>
                      <c:pt idx="407">
                        <c:v>308.91000000000008</c:v>
                      </c:pt>
                      <c:pt idx="408">
                        <c:v>308.93000000000006</c:v>
                      </c:pt>
                      <c:pt idx="409">
                        <c:v>308.95000000000005</c:v>
                      </c:pt>
                      <c:pt idx="410">
                        <c:v>308.97000000000003</c:v>
                      </c:pt>
                      <c:pt idx="411">
                        <c:v>308.99</c:v>
                      </c:pt>
                      <c:pt idx="412">
                        <c:v>309.01</c:v>
                      </c:pt>
                      <c:pt idx="413">
                        <c:v>309.02999999999997</c:v>
                      </c:pt>
                      <c:pt idx="414">
                        <c:v>309.04999999999995</c:v>
                      </c:pt>
                      <c:pt idx="415">
                        <c:v>309.06999999999994</c:v>
                      </c:pt>
                      <c:pt idx="416">
                        <c:v>309.08999999999992</c:v>
                      </c:pt>
                      <c:pt idx="417">
                        <c:v>309.1099999999999</c:v>
                      </c:pt>
                      <c:pt idx="418">
                        <c:v>309.13000000000011</c:v>
                      </c:pt>
                      <c:pt idx="419">
                        <c:v>309.15000000000009</c:v>
                      </c:pt>
                      <c:pt idx="420">
                        <c:v>309.17000000000007</c:v>
                      </c:pt>
                      <c:pt idx="421">
                        <c:v>309.19000000000005</c:v>
                      </c:pt>
                      <c:pt idx="422">
                        <c:v>309.21000000000004</c:v>
                      </c:pt>
                      <c:pt idx="423">
                        <c:v>309.23</c:v>
                      </c:pt>
                      <c:pt idx="424">
                        <c:v>309.25</c:v>
                      </c:pt>
                      <c:pt idx="425">
                        <c:v>309.27</c:v>
                      </c:pt>
                      <c:pt idx="426">
                        <c:v>309.28999999999996</c:v>
                      </c:pt>
                      <c:pt idx="427">
                        <c:v>309.30999999999995</c:v>
                      </c:pt>
                      <c:pt idx="428">
                        <c:v>309.32999999999993</c:v>
                      </c:pt>
                      <c:pt idx="429">
                        <c:v>309.34999999999991</c:v>
                      </c:pt>
                      <c:pt idx="430">
                        <c:v>309.36999999999989</c:v>
                      </c:pt>
                      <c:pt idx="431">
                        <c:v>309.3900000000001</c:v>
                      </c:pt>
                      <c:pt idx="432">
                        <c:v>309.41000000000008</c:v>
                      </c:pt>
                      <c:pt idx="433">
                        <c:v>309.43000000000006</c:v>
                      </c:pt>
                      <c:pt idx="434">
                        <c:v>309.45000000000005</c:v>
                      </c:pt>
                      <c:pt idx="435">
                        <c:v>309.47000000000003</c:v>
                      </c:pt>
                      <c:pt idx="436">
                        <c:v>309.49</c:v>
                      </c:pt>
                      <c:pt idx="437">
                        <c:v>309.51</c:v>
                      </c:pt>
                      <c:pt idx="438">
                        <c:v>309.52999999999997</c:v>
                      </c:pt>
                      <c:pt idx="439">
                        <c:v>309.56999999999994</c:v>
                      </c:pt>
                      <c:pt idx="440">
                        <c:v>309.80999999999995</c:v>
                      </c:pt>
                      <c:pt idx="441">
                        <c:v>309.83999999999992</c:v>
                      </c:pt>
                      <c:pt idx="442">
                        <c:v>314.83999999999992</c:v>
                      </c:pt>
                      <c:pt idx="443">
                        <c:v>319.83999999999992</c:v>
                      </c:pt>
                      <c:pt idx="444">
                        <c:v>324.83999999999992</c:v>
                      </c:pt>
                      <c:pt idx="445">
                        <c:v>327.74</c:v>
                      </c:pt>
                      <c:pt idx="446">
                        <c:v>332.74</c:v>
                      </c:pt>
                    </c:numCache>
                  </c:numRef>
                </c:xVal>
                <c:yVal>
                  <c:numRef>
                    <c:extLst xmlns:c15="http://schemas.microsoft.com/office/drawing/2012/chart">
                      <c:ext xmlns:c15="http://schemas.microsoft.com/office/drawing/2012/chart" uri="{02D57815-91ED-43cb-92C2-25804820EDAC}">
                        <c15:formulaRef>
                          <c15:sqref>Data!$W$9:$W$510</c15:sqref>
                        </c15:formulaRef>
                      </c:ext>
                    </c:extLst>
                    <c:numCache>
                      <c:formatCode>General</c:formatCode>
                      <c:ptCount val="502"/>
                      <c:pt idx="0">
                        <c:v>3.4482758620689655E-2</c:v>
                      </c:pt>
                      <c:pt idx="1">
                        <c:v>3.4482758620689655E-2</c:v>
                      </c:pt>
                      <c:pt idx="2">
                        <c:v>6.2068965517241406E-2</c:v>
                      </c:pt>
                      <c:pt idx="3">
                        <c:v>6.2068965517241406E-2</c:v>
                      </c:pt>
                      <c:pt idx="4">
                        <c:v>6.2068965517241406E-2</c:v>
                      </c:pt>
                      <c:pt idx="5">
                        <c:v>6.2068965517241406E-2</c:v>
                      </c:pt>
                      <c:pt idx="6">
                        <c:v>6.2068965517241406E-2</c:v>
                      </c:pt>
                      <c:pt idx="7">
                        <c:v>6.2068965517241406E-2</c:v>
                      </c:pt>
                      <c:pt idx="8">
                        <c:v>6.2068965517241406E-2</c:v>
                      </c:pt>
                      <c:pt idx="9">
                        <c:v>6.2068965517241406E-2</c:v>
                      </c:pt>
                      <c:pt idx="10">
                        <c:v>6.2068965517241406E-2</c:v>
                      </c:pt>
                      <c:pt idx="11">
                        <c:v>6.8965517241379309E-2</c:v>
                      </c:pt>
                      <c:pt idx="12">
                        <c:v>6.8965517241379309E-2</c:v>
                      </c:pt>
                      <c:pt idx="13">
                        <c:v>6.8965517241379309E-2</c:v>
                      </c:pt>
                      <c:pt idx="14">
                        <c:v>6.8965517241379309E-2</c:v>
                      </c:pt>
                      <c:pt idx="15">
                        <c:v>6.2068965517241406E-2</c:v>
                      </c:pt>
                      <c:pt idx="16">
                        <c:v>0.11724137931034478</c:v>
                      </c:pt>
                      <c:pt idx="17">
                        <c:v>0.11724137931034478</c:v>
                      </c:pt>
                      <c:pt idx="18">
                        <c:v>0.12413793103448281</c:v>
                      </c:pt>
                      <c:pt idx="19">
                        <c:v>0.12413793103448281</c:v>
                      </c:pt>
                      <c:pt idx="20">
                        <c:v>0.12413793103448281</c:v>
                      </c:pt>
                      <c:pt idx="21">
                        <c:v>0.13103448275862084</c:v>
                      </c:pt>
                      <c:pt idx="22">
                        <c:v>0.12413793103448281</c:v>
                      </c:pt>
                      <c:pt idx="23">
                        <c:v>0.12413793103448281</c:v>
                      </c:pt>
                      <c:pt idx="24">
                        <c:v>0.12413793103448281</c:v>
                      </c:pt>
                      <c:pt idx="25">
                        <c:v>0.12413793103448281</c:v>
                      </c:pt>
                      <c:pt idx="26">
                        <c:v>0.12413793103448281</c:v>
                      </c:pt>
                      <c:pt idx="27">
                        <c:v>0.12413793103448281</c:v>
                      </c:pt>
                      <c:pt idx="28">
                        <c:v>0.12413793103448281</c:v>
                      </c:pt>
                      <c:pt idx="29">
                        <c:v>0.13103448275862084</c:v>
                      </c:pt>
                      <c:pt idx="30">
                        <c:v>0.13103448275862084</c:v>
                      </c:pt>
                      <c:pt idx="31">
                        <c:v>0.12413793103448281</c:v>
                      </c:pt>
                      <c:pt idx="32">
                        <c:v>0.13103448275862084</c:v>
                      </c:pt>
                      <c:pt idx="33">
                        <c:v>0.12413793103448281</c:v>
                      </c:pt>
                      <c:pt idx="34">
                        <c:v>0.20000000000000015</c:v>
                      </c:pt>
                      <c:pt idx="35">
                        <c:v>0.20689655172413793</c:v>
                      </c:pt>
                      <c:pt idx="36">
                        <c:v>0.20689655172413793</c:v>
                      </c:pt>
                      <c:pt idx="37">
                        <c:v>0.21379310344827596</c:v>
                      </c:pt>
                      <c:pt idx="38">
                        <c:v>0.21379310344827596</c:v>
                      </c:pt>
                      <c:pt idx="39">
                        <c:v>0.21379310344827596</c:v>
                      </c:pt>
                      <c:pt idx="40">
                        <c:v>0.20689655172413793</c:v>
                      </c:pt>
                      <c:pt idx="41">
                        <c:v>0.21379310344827596</c:v>
                      </c:pt>
                      <c:pt idx="42">
                        <c:v>0.21379310344827596</c:v>
                      </c:pt>
                      <c:pt idx="43">
                        <c:v>0.21379310344827596</c:v>
                      </c:pt>
                      <c:pt idx="44">
                        <c:v>0.20689655172413793</c:v>
                      </c:pt>
                      <c:pt idx="45">
                        <c:v>0.21379310344827596</c:v>
                      </c:pt>
                      <c:pt idx="46">
                        <c:v>0.21379310344827596</c:v>
                      </c:pt>
                      <c:pt idx="47">
                        <c:v>0.21379310344827596</c:v>
                      </c:pt>
                      <c:pt idx="48">
                        <c:v>0.21379310344827596</c:v>
                      </c:pt>
                      <c:pt idx="49">
                        <c:v>0.21379310344827596</c:v>
                      </c:pt>
                      <c:pt idx="50">
                        <c:v>0.21379310344827596</c:v>
                      </c:pt>
                      <c:pt idx="51">
                        <c:v>0.21379310344827596</c:v>
                      </c:pt>
                      <c:pt idx="52">
                        <c:v>0.30344827586206913</c:v>
                      </c:pt>
                      <c:pt idx="53">
                        <c:v>0.31034482758620691</c:v>
                      </c:pt>
                      <c:pt idx="54">
                        <c:v>0.31724137931034491</c:v>
                      </c:pt>
                      <c:pt idx="55">
                        <c:v>0.31724137931034491</c:v>
                      </c:pt>
                      <c:pt idx="56">
                        <c:v>0.31034482758620691</c:v>
                      </c:pt>
                      <c:pt idx="57">
                        <c:v>0.31034482758620691</c:v>
                      </c:pt>
                      <c:pt idx="58">
                        <c:v>0.31724137931034491</c:v>
                      </c:pt>
                      <c:pt idx="59">
                        <c:v>0.31034482758620691</c:v>
                      </c:pt>
                      <c:pt idx="60">
                        <c:v>0.31034482758620691</c:v>
                      </c:pt>
                      <c:pt idx="61">
                        <c:v>0.31724137931034491</c:v>
                      </c:pt>
                      <c:pt idx="62">
                        <c:v>0.31034482758620691</c:v>
                      </c:pt>
                      <c:pt idx="63">
                        <c:v>0.31034482758620691</c:v>
                      </c:pt>
                      <c:pt idx="64">
                        <c:v>0.31724137931034491</c:v>
                      </c:pt>
                      <c:pt idx="65">
                        <c:v>0.31034482758620691</c:v>
                      </c:pt>
                      <c:pt idx="66">
                        <c:v>0.31034482758620691</c:v>
                      </c:pt>
                      <c:pt idx="67">
                        <c:v>0.31724137931034491</c:v>
                      </c:pt>
                      <c:pt idx="68">
                        <c:v>0.31724137931034491</c:v>
                      </c:pt>
                      <c:pt idx="69">
                        <c:v>0.31724137931034491</c:v>
                      </c:pt>
                      <c:pt idx="70">
                        <c:v>0.44137931034482775</c:v>
                      </c:pt>
                      <c:pt idx="71">
                        <c:v>0.4620689655172413</c:v>
                      </c:pt>
                      <c:pt idx="72">
                        <c:v>0.46896551724137936</c:v>
                      </c:pt>
                      <c:pt idx="73">
                        <c:v>0.46896551724137936</c:v>
                      </c:pt>
                      <c:pt idx="74">
                        <c:v>0.46896551724137936</c:v>
                      </c:pt>
                      <c:pt idx="75">
                        <c:v>0.4620689655172413</c:v>
                      </c:pt>
                      <c:pt idx="76">
                        <c:v>0.46896551724137936</c:v>
                      </c:pt>
                      <c:pt idx="77">
                        <c:v>0.4620689655172413</c:v>
                      </c:pt>
                      <c:pt idx="78">
                        <c:v>0.46896551724137936</c:v>
                      </c:pt>
                      <c:pt idx="79">
                        <c:v>0.4620689655172413</c:v>
                      </c:pt>
                      <c:pt idx="80">
                        <c:v>0.4620689655172413</c:v>
                      </c:pt>
                      <c:pt idx="81">
                        <c:v>0.4620689655172413</c:v>
                      </c:pt>
                      <c:pt idx="82">
                        <c:v>0.45517241379310353</c:v>
                      </c:pt>
                      <c:pt idx="83">
                        <c:v>0.45517241379310353</c:v>
                      </c:pt>
                      <c:pt idx="84">
                        <c:v>0.45517241379310353</c:v>
                      </c:pt>
                      <c:pt idx="85">
                        <c:v>0.45517241379310353</c:v>
                      </c:pt>
                      <c:pt idx="86">
                        <c:v>0.45517241379310353</c:v>
                      </c:pt>
                      <c:pt idx="87">
                        <c:v>0.62068965517241381</c:v>
                      </c:pt>
                      <c:pt idx="88">
                        <c:v>0.64137931034482765</c:v>
                      </c:pt>
                      <c:pt idx="89">
                        <c:v>0.6482758620689657</c:v>
                      </c:pt>
                      <c:pt idx="90">
                        <c:v>0.6482758620689657</c:v>
                      </c:pt>
                      <c:pt idx="91">
                        <c:v>0.6482758620689657</c:v>
                      </c:pt>
                      <c:pt idx="92">
                        <c:v>0.64137931034482765</c:v>
                      </c:pt>
                      <c:pt idx="93">
                        <c:v>0.64137931034482765</c:v>
                      </c:pt>
                      <c:pt idx="94">
                        <c:v>0.64137931034482765</c:v>
                      </c:pt>
                      <c:pt idx="95">
                        <c:v>0.64137931034482765</c:v>
                      </c:pt>
                      <c:pt idx="96">
                        <c:v>0.63448275862068959</c:v>
                      </c:pt>
                      <c:pt idx="97">
                        <c:v>0.63448275862068959</c:v>
                      </c:pt>
                      <c:pt idx="98">
                        <c:v>0.63448275862068959</c:v>
                      </c:pt>
                      <c:pt idx="99">
                        <c:v>0.63448275862068959</c:v>
                      </c:pt>
                      <c:pt idx="100">
                        <c:v>0.63448275862068959</c:v>
                      </c:pt>
                      <c:pt idx="101">
                        <c:v>0.63448275862068959</c:v>
                      </c:pt>
                      <c:pt idx="102">
                        <c:v>0.63448275862068959</c:v>
                      </c:pt>
                      <c:pt idx="103">
                        <c:v>0.62758620689655187</c:v>
                      </c:pt>
                      <c:pt idx="104">
                        <c:v>0.62758620689655187</c:v>
                      </c:pt>
                      <c:pt idx="105">
                        <c:v>0.62758620689655187</c:v>
                      </c:pt>
                      <c:pt idx="106">
                        <c:v>0.62068965517241381</c:v>
                      </c:pt>
                      <c:pt idx="107">
                        <c:v>0.62068965517241381</c:v>
                      </c:pt>
                      <c:pt idx="108">
                        <c:v>0.62068965517241381</c:v>
                      </c:pt>
                      <c:pt idx="109">
                        <c:v>0.62068965517241381</c:v>
                      </c:pt>
                      <c:pt idx="110">
                        <c:v>0.83448275862068977</c:v>
                      </c:pt>
                      <c:pt idx="111">
                        <c:v>0.8551724137931036</c:v>
                      </c:pt>
                      <c:pt idx="112">
                        <c:v>0.86896551724137938</c:v>
                      </c:pt>
                      <c:pt idx="113">
                        <c:v>0.86896551724137938</c:v>
                      </c:pt>
                      <c:pt idx="114">
                        <c:v>0.86206896551724133</c:v>
                      </c:pt>
                      <c:pt idx="115">
                        <c:v>0.86206896551724133</c:v>
                      </c:pt>
                      <c:pt idx="116">
                        <c:v>0.8551724137931036</c:v>
                      </c:pt>
                      <c:pt idx="117">
                        <c:v>0.8551724137931036</c:v>
                      </c:pt>
                      <c:pt idx="118">
                        <c:v>0.8551724137931036</c:v>
                      </c:pt>
                      <c:pt idx="119">
                        <c:v>0.84827586206896555</c:v>
                      </c:pt>
                      <c:pt idx="120">
                        <c:v>0.84827586206896555</c:v>
                      </c:pt>
                      <c:pt idx="121">
                        <c:v>0.84827586206896555</c:v>
                      </c:pt>
                      <c:pt idx="122">
                        <c:v>0.84827586206896555</c:v>
                      </c:pt>
                      <c:pt idx="123">
                        <c:v>0.84137931034482749</c:v>
                      </c:pt>
                      <c:pt idx="124">
                        <c:v>0.84137931034482749</c:v>
                      </c:pt>
                      <c:pt idx="125">
                        <c:v>0.84137931034482749</c:v>
                      </c:pt>
                      <c:pt idx="126">
                        <c:v>0.84137931034482749</c:v>
                      </c:pt>
                      <c:pt idx="127">
                        <c:v>0.83448275862068977</c:v>
                      </c:pt>
                      <c:pt idx="128">
                        <c:v>0.83448275862068977</c:v>
                      </c:pt>
                      <c:pt idx="129">
                        <c:v>0.83448275862068977</c:v>
                      </c:pt>
                      <c:pt idx="130">
                        <c:v>0.83448275862068977</c:v>
                      </c:pt>
                      <c:pt idx="131">
                        <c:v>0.82758620689655171</c:v>
                      </c:pt>
                      <c:pt idx="132">
                        <c:v>0.82758620689655171</c:v>
                      </c:pt>
                      <c:pt idx="133">
                        <c:v>0.82758620689655171</c:v>
                      </c:pt>
                      <c:pt idx="134">
                        <c:v>1.0965517241379312</c:v>
                      </c:pt>
                      <c:pt idx="135">
                        <c:v>1.1379310344827587</c:v>
                      </c:pt>
                      <c:pt idx="136">
                        <c:v>1.1517241379310343</c:v>
                      </c:pt>
                      <c:pt idx="137">
                        <c:v>1.1517241379310343</c:v>
                      </c:pt>
                      <c:pt idx="138">
                        <c:v>1.1448275862068966</c:v>
                      </c:pt>
                      <c:pt idx="139">
                        <c:v>1.1379310344827587</c:v>
                      </c:pt>
                      <c:pt idx="140">
                        <c:v>1.1379310344827587</c:v>
                      </c:pt>
                      <c:pt idx="141">
                        <c:v>1.1310344827586207</c:v>
                      </c:pt>
                      <c:pt idx="142">
                        <c:v>1.1241379310344828</c:v>
                      </c:pt>
                      <c:pt idx="143">
                        <c:v>1.1172413793103448</c:v>
                      </c:pt>
                      <c:pt idx="144">
                        <c:v>1.1172413793103448</c:v>
                      </c:pt>
                      <c:pt idx="145">
                        <c:v>1.1103448275862069</c:v>
                      </c:pt>
                      <c:pt idx="146">
                        <c:v>1.1103448275862069</c:v>
                      </c:pt>
                      <c:pt idx="147">
                        <c:v>1.103448275862069</c:v>
                      </c:pt>
                      <c:pt idx="148">
                        <c:v>1.103448275862069</c:v>
                      </c:pt>
                      <c:pt idx="149">
                        <c:v>1.0965517241379312</c:v>
                      </c:pt>
                      <c:pt idx="150">
                        <c:v>1.0965517241379312</c:v>
                      </c:pt>
                      <c:pt idx="151">
                        <c:v>1.0965517241379312</c:v>
                      </c:pt>
                      <c:pt idx="152">
                        <c:v>1.413793103448276</c:v>
                      </c:pt>
                      <c:pt idx="153">
                        <c:v>1.4827586206896555</c:v>
                      </c:pt>
                      <c:pt idx="154">
                        <c:v>1.4965517241379309</c:v>
                      </c:pt>
                      <c:pt idx="155">
                        <c:v>1.489655172413793</c:v>
                      </c:pt>
                      <c:pt idx="156">
                        <c:v>1.4827586206896555</c:v>
                      </c:pt>
                      <c:pt idx="157">
                        <c:v>1.4758620689655173</c:v>
                      </c:pt>
                      <c:pt idx="158">
                        <c:v>1.4689655172413794</c:v>
                      </c:pt>
                      <c:pt idx="159">
                        <c:v>1.4551724137931032</c:v>
                      </c:pt>
                      <c:pt idx="160">
                        <c:v>1.4482758620689657</c:v>
                      </c:pt>
                      <c:pt idx="161">
                        <c:v>1.4413793103448278</c:v>
                      </c:pt>
                      <c:pt idx="162">
                        <c:v>1.4344827586206896</c:v>
                      </c:pt>
                      <c:pt idx="163">
                        <c:v>1.4275862068965517</c:v>
                      </c:pt>
                      <c:pt idx="164">
                        <c:v>1.413793103448276</c:v>
                      </c:pt>
                      <c:pt idx="165">
                        <c:v>1.4068965517241381</c:v>
                      </c:pt>
                      <c:pt idx="166">
                        <c:v>1.4068965517241381</c:v>
                      </c:pt>
                      <c:pt idx="167">
                        <c:v>1.4068965517241381</c:v>
                      </c:pt>
                      <c:pt idx="168">
                        <c:v>1.393103448275862</c:v>
                      </c:pt>
                      <c:pt idx="169">
                        <c:v>1.386206896551724</c:v>
                      </c:pt>
                      <c:pt idx="170">
                        <c:v>1.3793103448275865</c:v>
                      </c:pt>
                      <c:pt idx="171">
                        <c:v>1.3793103448275865</c:v>
                      </c:pt>
                      <c:pt idx="172">
                        <c:v>1.6758620689655173</c:v>
                      </c:pt>
                      <c:pt idx="173">
                        <c:v>1.7241379310344831</c:v>
                      </c:pt>
                      <c:pt idx="174">
                        <c:v>1.710344827586207</c:v>
                      </c:pt>
                      <c:pt idx="175">
                        <c:v>1.6827586206896554</c:v>
                      </c:pt>
                      <c:pt idx="176">
                        <c:v>1.6482758620689657</c:v>
                      </c:pt>
                      <c:pt idx="177">
                        <c:v>1.6206896551724141</c:v>
                      </c:pt>
                      <c:pt idx="178">
                        <c:v>1.5862068965517244</c:v>
                      </c:pt>
                      <c:pt idx="179">
                        <c:v>1.5517241379310347</c:v>
                      </c:pt>
                      <c:pt idx="180">
                        <c:v>1.5241379310344827</c:v>
                      </c:pt>
                      <c:pt idx="181">
                        <c:v>1.4965517241379309</c:v>
                      </c:pt>
                      <c:pt idx="182">
                        <c:v>1.4758620689655173</c:v>
                      </c:pt>
                      <c:pt idx="183">
                        <c:v>1.4482758620689657</c:v>
                      </c:pt>
                      <c:pt idx="184">
                        <c:v>1.4275862068965517</c:v>
                      </c:pt>
                      <c:pt idx="185">
                        <c:v>1.413793103448276</c:v>
                      </c:pt>
                      <c:pt idx="186">
                        <c:v>1.413793103448276</c:v>
                      </c:pt>
                      <c:pt idx="187">
                        <c:v>1.393103448275862</c:v>
                      </c:pt>
                      <c:pt idx="188">
                        <c:v>1.386206896551724</c:v>
                      </c:pt>
                      <c:pt idx="189">
                        <c:v>1.386206896551724</c:v>
                      </c:pt>
                      <c:pt idx="190">
                        <c:v>1.3793103448275865</c:v>
                      </c:pt>
                      <c:pt idx="191">
                        <c:v>1.386206896551724</c:v>
                      </c:pt>
                      <c:pt idx="192">
                        <c:v>1.4000000000000001</c:v>
                      </c:pt>
                      <c:pt idx="193">
                        <c:v>1.4068965517241381</c:v>
                      </c:pt>
                      <c:pt idx="194">
                        <c:v>1.4206896551724137</c:v>
                      </c:pt>
                      <c:pt idx="195">
                        <c:v>1.4344827586206896</c:v>
                      </c:pt>
                      <c:pt idx="196">
                        <c:v>1.4620689655172414</c:v>
                      </c:pt>
                      <c:pt idx="197">
                        <c:v>1.4620689655172414</c:v>
                      </c:pt>
                      <c:pt idx="198">
                        <c:v>1.4965517241379309</c:v>
                      </c:pt>
                      <c:pt idx="199">
                        <c:v>1.5034482758620691</c:v>
                      </c:pt>
                      <c:pt idx="200">
                        <c:v>1.5448275862068968</c:v>
                      </c:pt>
                      <c:pt idx="201">
                        <c:v>1.5931034482758619</c:v>
                      </c:pt>
                      <c:pt idx="202">
                        <c:v>1.6413793103448275</c:v>
                      </c:pt>
                      <c:pt idx="203">
                        <c:v>1.6896551724137934</c:v>
                      </c:pt>
                      <c:pt idx="204">
                        <c:v>1.7379310344827585</c:v>
                      </c:pt>
                      <c:pt idx="205">
                        <c:v>1.7999999999999998</c:v>
                      </c:pt>
                      <c:pt idx="206">
                        <c:v>1.8344827586206895</c:v>
                      </c:pt>
                      <c:pt idx="207">
                        <c:v>1.9103448275862069</c:v>
                      </c:pt>
                      <c:pt idx="208">
                        <c:v>1.9103448275862069</c:v>
                      </c:pt>
                      <c:pt idx="209">
                        <c:v>1.9517241379310346</c:v>
                      </c:pt>
                      <c:pt idx="210">
                        <c:v>2.0068965517241377</c:v>
                      </c:pt>
                      <c:pt idx="211">
                        <c:v>2.0620689655172417</c:v>
                      </c:pt>
                      <c:pt idx="212">
                        <c:v>2.1103448275862067</c:v>
                      </c:pt>
                      <c:pt idx="213">
                        <c:v>2.2000000000000002</c:v>
                      </c:pt>
                      <c:pt idx="214">
                        <c:v>2.2482758620689651</c:v>
                      </c:pt>
                      <c:pt idx="215">
                        <c:v>2.3379310344827591</c:v>
                      </c:pt>
                      <c:pt idx="216">
                        <c:v>2.3931034482758622</c:v>
                      </c:pt>
                      <c:pt idx="217">
                        <c:v>2.4965517241379311</c:v>
                      </c:pt>
                      <c:pt idx="218">
                        <c:v>2.5655172413793106</c:v>
                      </c:pt>
                      <c:pt idx="219">
                        <c:v>2.6206896551724137</c:v>
                      </c:pt>
                      <c:pt idx="220">
                        <c:v>2.7172413793103454</c:v>
                      </c:pt>
                      <c:pt idx="221">
                        <c:v>2.7793103448275862</c:v>
                      </c:pt>
                      <c:pt idx="222">
                        <c:v>2.8620689655172415</c:v>
                      </c:pt>
                      <c:pt idx="223">
                        <c:v>2.9172413793103447</c:v>
                      </c:pt>
                      <c:pt idx="224">
                        <c:v>3</c:v>
                      </c:pt>
                      <c:pt idx="225">
                        <c:v>3.0896551724137931</c:v>
                      </c:pt>
                      <c:pt idx="226">
                        <c:v>3.1586206896551721</c:v>
                      </c:pt>
                      <c:pt idx="227">
                        <c:v>3.2551724137931037</c:v>
                      </c:pt>
                      <c:pt idx="228">
                        <c:v>3.3172413793103446</c:v>
                      </c:pt>
                      <c:pt idx="229">
                        <c:v>3.4068965517241372</c:v>
                      </c:pt>
                      <c:pt idx="230">
                        <c:v>3.4827586206896552</c:v>
                      </c:pt>
                      <c:pt idx="231">
                        <c:v>3.6068965517241378</c:v>
                      </c:pt>
                      <c:pt idx="232">
                        <c:v>3.6689655172413795</c:v>
                      </c:pt>
                      <c:pt idx="233">
                        <c:v>3.737931034482759</c:v>
                      </c:pt>
                      <c:pt idx="234">
                        <c:v>3.8413793103448279</c:v>
                      </c:pt>
                      <c:pt idx="235">
                        <c:v>3.9172413793103447</c:v>
                      </c:pt>
                      <c:pt idx="236">
                        <c:v>4.0206896551724132</c:v>
                      </c:pt>
                      <c:pt idx="237">
                        <c:v>4.1034482758620694</c:v>
                      </c:pt>
                      <c:pt idx="238">
                        <c:v>4.2137931034482756</c:v>
                      </c:pt>
                      <c:pt idx="239">
                        <c:v>4.2896551724137932</c:v>
                      </c:pt>
                      <c:pt idx="240">
                        <c:v>4.4068965517241372</c:v>
                      </c:pt>
                      <c:pt idx="241">
                        <c:v>4.4758620689655171</c:v>
                      </c:pt>
                      <c:pt idx="242">
                        <c:v>4.5862068965517242</c:v>
                      </c:pt>
                      <c:pt idx="243">
                        <c:v>4.6551724137931032</c:v>
                      </c:pt>
                      <c:pt idx="244">
                        <c:v>4.7241379310344831</c:v>
                      </c:pt>
                      <c:pt idx="245">
                        <c:v>4.8275862068965516</c:v>
                      </c:pt>
                      <c:pt idx="246">
                        <c:v>4.9103448275862069</c:v>
                      </c:pt>
                      <c:pt idx="247">
                        <c:v>5.0482758620689658</c:v>
                      </c:pt>
                      <c:pt idx="248">
                        <c:v>5.1241379310344826</c:v>
                      </c:pt>
                      <c:pt idx="249">
                        <c:v>5.2344827586206888</c:v>
                      </c:pt>
                      <c:pt idx="250">
                        <c:v>5.3103448275862073</c:v>
                      </c:pt>
                      <c:pt idx="251">
                        <c:v>5.4068965517241372</c:v>
                      </c:pt>
                      <c:pt idx="252">
                        <c:v>5.4758620689655171</c:v>
                      </c:pt>
                      <c:pt idx="253">
                        <c:v>5.5655172413793101</c:v>
                      </c:pt>
                      <c:pt idx="254">
                        <c:v>5.6896551724137927</c:v>
                      </c:pt>
                      <c:pt idx="255">
                        <c:v>5.772413793103448</c:v>
                      </c:pt>
                      <c:pt idx="256">
                        <c:v>5.8689655172413788</c:v>
                      </c:pt>
                      <c:pt idx="257">
                        <c:v>5.9655172413793105</c:v>
                      </c:pt>
                      <c:pt idx="258">
                        <c:v>6.0965517241379308</c:v>
                      </c:pt>
                      <c:pt idx="259">
                        <c:v>6.1724137931034484</c:v>
                      </c:pt>
                      <c:pt idx="260">
                        <c:v>6.296551724137931</c:v>
                      </c:pt>
                      <c:pt idx="261">
                        <c:v>6.3793103448275863</c:v>
                      </c:pt>
                      <c:pt idx="262">
                        <c:v>6.4965517241379311</c:v>
                      </c:pt>
                      <c:pt idx="263">
                        <c:v>6.5793103448275856</c:v>
                      </c:pt>
                      <c:pt idx="264">
                        <c:v>6.6689655172413795</c:v>
                      </c:pt>
                      <c:pt idx="265">
                        <c:v>6.8068965517241384</c:v>
                      </c:pt>
                      <c:pt idx="266">
                        <c:v>6.9034482758620683</c:v>
                      </c:pt>
                      <c:pt idx="267">
                        <c:v>6.9862068965517237</c:v>
                      </c:pt>
                      <c:pt idx="268">
                        <c:v>7.1103448275862062</c:v>
                      </c:pt>
                      <c:pt idx="269">
                        <c:v>7.1999999999999993</c:v>
                      </c:pt>
                      <c:pt idx="270">
                        <c:v>7.3379310344827582</c:v>
                      </c:pt>
                      <c:pt idx="271">
                        <c:v>7.4413793103448267</c:v>
                      </c:pt>
                      <c:pt idx="272">
                        <c:v>7.5931034482758619</c:v>
                      </c:pt>
                      <c:pt idx="273">
                        <c:v>7.6896551724137927</c:v>
                      </c:pt>
                      <c:pt idx="274">
                        <c:v>7.7931034482758621</c:v>
                      </c:pt>
                      <c:pt idx="275">
                        <c:v>7.9448275862068964</c:v>
                      </c:pt>
                      <c:pt idx="276">
                        <c:v>8.0413793103448281</c:v>
                      </c:pt>
                      <c:pt idx="277">
                        <c:v>8.1517241379310352</c:v>
                      </c:pt>
                      <c:pt idx="278">
                        <c:v>8.3034482758620687</c:v>
                      </c:pt>
                      <c:pt idx="279">
                        <c:v>8.413793103448274</c:v>
                      </c:pt>
                      <c:pt idx="280">
                        <c:v>8.5724137931034488</c:v>
                      </c:pt>
                      <c:pt idx="281">
                        <c:v>8.6758620689655164</c:v>
                      </c:pt>
                      <c:pt idx="282">
                        <c:v>8.7793103448275858</c:v>
                      </c:pt>
                      <c:pt idx="283">
                        <c:v>8.9448275862068982</c:v>
                      </c:pt>
                      <c:pt idx="284">
                        <c:v>9.0413793103448299</c:v>
                      </c:pt>
                      <c:pt idx="285">
                        <c:v>9.2000000000000011</c:v>
                      </c:pt>
                      <c:pt idx="286">
                        <c:v>9.3241379310344836</c:v>
                      </c:pt>
                      <c:pt idx="287">
                        <c:v>9.4482758620689662</c:v>
                      </c:pt>
                      <c:pt idx="288">
                        <c:v>9.565517241379311</c:v>
                      </c:pt>
                      <c:pt idx="289">
                        <c:v>9.7310344827586217</c:v>
                      </c:pt>
                      <c:pt idx="290">
                        <c:v>9.8344827586206911</c:v>
                      </c:pt>
                      <c:pt idx="291">
                        <c:v>10</c:v>
                      </c:pt>
                      <c:pt idx="292">
                        <c:v>10.110344827586209</c:v>
                      </c:pt>
                      <c:pt idx="293">
                        <c:v>10.275862068965518</c:v>
                      </c:pt>
                      <c:pt idx="294">
                        <c:v>10.386206896551725</c:v>
                      </c:pt>
                      <c:pt idx="295">
                        <c:v>10.551724137931034</c:v>
                      </c:pt>
                      <c:pt idx="296">
                        <c:v>10.66896551724138</c:v>
                      </c:pt>
                      <c:pt idx="297">
                        <c:v>10.779310344827588</c:v>
                      </c:pt>
                      <c:pt idx="298">
                        <c:v>10.958620689655174</c:v>
                      </c:pt>
                      <c:pt idx="299">
                        <c:v>11.068965517241379</c:v>
                      </c:pt>
                      <c:pt idx="300">
                        <c:v>11.200000000000001</c:v>
                      </c:pt>
                      <c:pt idx="301">
                        <c:v>11.372413793103449</c:v>
                      </c:pt>
                      <c:pt idx="302">
                        <c:v>11.475862068965517</c:v>
                      </c:pt>
                      <c:pt idx="303">
                        <c:v>11.648275862068965</c:v>
                      </c:pt>
                      <c:pt idx="304">
                        <c:v>11.765517241379312</c:v>
                      </c:pt>
                      <c:pt idx="305">
                        <c:v>11.93793103448276</c:v>
                      </c:pt>
                      <c:pt idx="306">
                        <c:v>12.048275862068966</c:v>
                      </c:pt>
                      <c:pt idx="307">
                        <c:v>12.172413793103448</c:v>
                      </c:pt>
                      <c:pt idx="308">
                        <c:v>12.358620689655174</c:v>
                      </c:pt>
                      <c:pt idx="309">
                        <c:v>12.475862068965517</c:v>
                      </c:pt>
                      <c:pt idx="310">
                        <c:v>12.593103448275864</c:v>
                      </c:pt>
                      <c:pt idx="311">
                        <c:v>12.779310344827588</c:v>
                      </c:pt>
                      <c:pt idx="312">
                        <c:v>12.896551724137931</c:v>
                      </c:pt>
                      <c:pt idx="313">
                        <c:v>13.006896551724139</c:v>
                      </c:pt>
                      <c:pt idx="314">
                        <c:v>13.186206896551726</c:v>
                      </c:pt>
                      <c:pt idx="315">
                        <c:v>13.317241379310346</c:v>
                      </c:pt>
                      <c:pt idx="316">
                        <c:v>13.427586206896553</c:v>
                      </c:pt>
                      <c:pt idx="317">
                        <c:v>13.606896551724139</c:v>
                      </c:pt>
                      <c:pt idx="318">
                        <c:v>13.731034482758622</c:v>
                      </c:pt>
                      <c:pt idx="319">
                        <c:v>13.848275862068967</c:v>
                      </c:pt>
                      <c:pt idx="320">
                        <c:v>14.03448275862069</c:v>
                      </c:pt>
                      <c:pt idx="321">
                        <c:v>14.158620689655173</c:v>
                      </c:pt>
                      <c:pt idx="322">
                        <c:v>14.262068965517242</c:v>
                      </c:pt>
                      <c:pt idx="323">
                        <c:v>14.372413793103449</c:v>
                      </c:pt>
                      <c:pt idx="324">
                        <c:v>14.53793103448276</c:v>
                      </c:pt>
                      <c:pt idx="325">
                        <c:v>14.655172413793103</c:v>
                      </c:pt>
                      <c:pt idx="326">
                        <c:v>14.765517241379312</c:v>
                      </c:pt>
                      <c:pt idx="327">
                        <c:v>14.944827586206898</c:v>
                      </c:pt>
                      <c:pt idx="328">
                        <c:v>15.068965517241379</c:v>
                      </c:pt>
                      <c:pt idx="329">
                        <c:v>15.193103448275863</c:v>
                      </c:pt>
                      <c:pt idx="330">
                        <c:v>15.303448275862069</c:v>
                      </c:pt>
                      <c:pt idx="331">
                        <c:v>15.420689655172415</c:v>
                      </c:pt>
                      <c:pt idx="332">
                        <c:v>15.524137931034485</c:v>
                      </c:pt>
                      <c:pt idx="333">
                        <c:v>15.696551724137933</c:v>
                      </c:pt>
                      <c:pt idx="334">
                        <c:v>15.806896551724138</c:v>
                      </c:pt>
                      <c:pt idx="335">
                        <c:v>15.917241379310346</c:v>
                      </c:pt>
                      <c:pt idx="336">
                        <c:v>16.020689655172415</c:v>
                      </c:pt>
                      <c:pt idx="337">
                        <c:v>16.137931034482758</c:v>
                      </c:pt>
                      <c:pt idx="338">
                        <c:v>16.30344827586207</c:v>
                      </c:pt>
                      <c:pt idx="339">
                        <c:v>16.400000000000002</c:v>
                      </c:pt>
                      <c:pt idx="340">
                        <c:v>16.496551724137934</c:v>
                      </c:pt>
                      <c:pt idx="341">
                        <c:v>16.593103448275862</c:v>
                      </c:pt>
                      <c:pt idx="342">
                        <c:v>16.744827586206899</c:v>
                      </c:pt>
                      <c:pt idx="343">
                        <c:v>16.841379310344827</c:v>
                      </c:pt>
                      <c:pt idx="344">
                        <c:v>16.944827586206895</c:v>
                      </c:pt>
                      <c:pt idx="345">
                        <c:v>17.03448275862069</c:v>
                      </c:pt>
                      <c:pt idx="346">
                        <c:v>17.131034482758622</c:v>
                      </c:pt>
                      <c:pt idx="347">
                        <c:v>17.186206896551724</c:v>
                      </c:pt>
                      <c:pt idx="348">
                        <c:v>17.317241379310346</c:v>
                      </c:pt>
                      <c:pt idx="349">
                        <c:v>17.406896551724142</c:v>
                      </c:pt>
                      <c:pt idx="350">
                        <c:v>17.448275862068964</c:v>
                      </c:pt>
                      <c:pt idx="351">
                        <c:v>17.551724137931036</c:v>
                      </c:pt>
                      <c:pt idx="352">
                        <c:v>17.606896551724137</c:v>
                      </c:pt>
                      <c:pt idx="353">
                        <c:v>17.662068965517243</c:v>
                      </c:pt>
                      <c:pt idx="354">
                        <c:v>17.737931034482759</c:v>
                      </c:pt>
                      <c:pt idx="355">
                        <c:v>17.786206896551725</c:v>
                      </c:pt>
                      <c:pt idx="356">
                        <c:v>17.806896551724137</c:v>
                      </c:pt>
                      <c:pt idx="357">
                        <c:v>17.855172413793106</c:v>
                      </c:pt>
                      <c:pt idx="358">
                        <c:v>17.903448275862072</c:v>
                      </c:pt>
                      <c:pt idx="359">
                        <c:v>17.958620689655174</c:v>
                      </c:pt>
                      <c:pt idx="360">
                        <c:v>17.986206896551725</c:v>
                      </c:pt>
                      <c:pt idx="361">
                        <c:v>18.048275862068966</c:v>
                      </c:pt>
                      <c:pt idx="362">
                        <c:v>18.110344827586207</c:v>
                      </c:pt>
                      <c:pt idx="363">
                        <c:v>18.144827586206898</c:v>
                      </c:pt>
                      <c:pt idx="364">
                        <c:v>18.220689655172414</c:v>
                      </c:pt>
                      <c:pt idx="365">
                        <c:v>18.26896551724138</c:v>
                      </c:pt>
                      <c:pt idx="366">
                        <c:v>18.365517241379312</c:v>
                      </c:pt>
                      <c:pt idx="367">
                        <c:v>18.420689655172417</c:v>
                      </c:pt>
                      <c:pt idx="368">
                        <c:v>18.475862068965519</c:v>
                      </c:pt>
                      <c:pt idx="369">
                        <c:v>18.53793103448276</c:v>
                      </c:pt>
                      <c:pt idx="370">
                        <c:v>18.662068965517243</c:v>
                      </c:pt>
                      <c:pt idx="371">
                        <c:v>18.731034482758623</c:v>
                      </c:pt>
                      <c:pt idx="372">
                        <c:v>18.806896551724137</c:v>
                      </c:pt>
                      <c:pt idx="373">
                        <c:v>18.882758620689657</c:v>
                      </c:pt>
                      <c:pt idx="374">
                        <c:v>18.96551724137931</c:v>
                      </c:pt>
                      <c:pt idx="375">
                        <c:v>19.055172413793105</c:v>
                      </c:pt>
                      <c:pt idx="376">
                        <c:v>19.137931034482758</c:v>
                      </c:pt>
                      <c:pt idx="377">
                        <c:v>19.234482758620693</c:v>
                      </c:pt>
                      <c:pt idx="378">
                        <c:v>19.337931034482761</c:v>
                      </c:pt>
                      <c:pt idx="379">
                        <c:v>19.448275862068964</c:v>
                      </c:pt>
                      <c:pt idx="380">
                        <c:v>19.558620689655175</c:v>
                      </c:pt>
                      <c:pt idx="381">
                        <c:v>19.675862068965518</c:v>
                      </c:pt>
                      <c:pt idx="382">
                        <c:v>19.8</c:v>
                      </c:pt>
                      <c:pt idx="383">
                        <c:v>19.931034482758619</c:v>
                      </c:pt>
                      <c:pt idx="384">
                        <c:v>20.068965517241381</c:v>
                      </c:pt>
                      <c:pt idx="385">
                        <c:v>20.248275862068969</c:v>
                      </c:pt>
                      <c:pt idx="386">
                        <c:v>20.406896551724142</c:v>
                      </c:pt>
                      <c:pt idx="387">
                        <c:v>20.565517241379311</c:v>
                      </c:pt>
                      <c:pt idx="388">
                        <c:v>20.744827586206899</c:v>
                      </c:pt>
                      <c:pt idx="389">
                        <c:v>20.931034482758619</c:v>
                      </c:pt>
                      <c:pt idx="390">
                        <c:v>21.117241379310343</c:v>
                      </c:pt>
                      <c:pt idx="391">
                        <c:v>21.331034482758621</c:v>
                      </c:pt>
                      <c:pt idx="392">
                        <c:v>21.5448275862069</c:v>
                      </c:pt>
                      <c:pt idx="393">
                        <c:v>21.779310344827586</c:v>
                      </c:pt>
                      <c:pt idx="394">
                        <c:v>22.027586206896554</c:v>
                      </c:pt>
                      <c:pt idx="395">
                        <c:v>22.310344827586206</c:v>
                      </c:pt>
                      <c:pt idx="396">
                        <c:v>22.586206896551722</c:v>
                      </c:pt>
                      <c:pt idx="397">
                        <c:v>22.882758620689657</c:v>
                      </c:pt>
                      <c:pt idx="398">
                        <c:v>23.186206896551724</c:v>
                      </c:pt>
                      <c:pt idx="399">
                        <c:v>23.49655172413793</c:v>
                      </c:pt>
                      <c:pt idx="400">
                        <c:v>23.834482758620691</c:v>
                      </c:pt>
                      <c:pt idx="401">
                        <c:v>24.200000000000003</c:v>
                      </c:pt>
                      <c:pt idx="402">
                        <c:v>24.606896551724137</c:v>
                      </c:pt>
                      <c:pt idx="403">
                        <c:v>25.020689655172415</c:v>
                      </c:pt>
                      <c:pt idx="404">
                        <c:v>25.46206896551724</c:v>
                      </c:pt>
                      <c:pt idx="405">
                        <c:v>25.903448275862072</c:v>
                      </c:pt>
                      <c:pt idx="406">
                        <c:v>26.351724137931036</c:v>
                      </c:pt>
                      <c:pt idx="407">
                        <c:v>26.834482758620691</c:v>
                      </c:pt>
                      <c:pt idx="408">
                        <c:v>27.337931034482761</c:v>
                      </c:pt>
                      <c:pt idx="409">
                        <c:v>27.841379310344827</c:v>
                      </c:pt>
                      <c:pt idx="410">
                        <c:v>28.372413793103451</c:v>
                      </c:pt>
                      <c:pt idx="411">
                        <c:v>28.917241379310347</c:v>
                      </c:pt>
                      <c:pt idx="412">
                        <c:v>29.524137931034485</c:v>
                      </c:pt>
                      <c:pt idx="413">
                        <c:v>30.151724137931033</c:v>
                      </c:pt>
                      <c:pt idx="414">
                        <c:v>30.813793103448276</c:v>
                      </c:pt>
                      <c:pt idx="415">
                        <c:v>31.517241379310345</c:v>
                      </c:pt>
                      <c:pt idx="416">
                        <c:v>32.296551724137935</c:v>
                      </c:pt>
                      <c:pt idx="417">
                        <c:v>33.172413793103445</c:v>
                      </c:pt>
                      <c:pt idx="418">
                        <c:v>34.089655172413792</c:v>
                      </c:pt>
                      <c:pt idx="419">
                        <c:v>35.082758620689653</c:v>
                      </c:pt>
                      <c:pt idx="420">
                        <c:v>36.193103448275856</c:v>
                      </c:pt>
                      <c:pt idx="421">
                        <c:v>37.475862068965519</c:v>
                      </c:pt>
                      <c:pt idx="422">
                        <c:v>38.799999999999997</c:v>
                      </c:pt>
                      <c:pt idx="423">
                        <c:v>40.275862068965516</c:v>
                      </c:pt>
                      <c:pt idx="424">
                        <c:v>41.937931034482752</c:v>
                      </c:pt>
                      <c:pt idx="425">
                        <c:v>43.751724137931035</c:v>
                      </c:pt>
                      <c:pt idx="426">
                        <c:v>45.696551724137926</c:v>
                      </c:pt>
                      <c:pt idx="427">
                        <c:v>47.537931034482753</c:v>
                      </c:pt>
                      <c:pt idx="428">
                        <c:v>49.117241379310343</c:v>
                      </c:pt>
                      <c:pt idx="429">
                        <c:v>50.186206896551717</c:v>
                      </c:pt>
                      <c:pt idx="430">
                        <c:v>50.751724137931035</c:v>
                      </c:pt>
                      <c:pt idx="431">
                        <c:v>50.910344827586201</c:v>
                      </c:pt>
                      <c:pt idx="432">
                        <c:v>50.96551724137931</c:v>
                      </c:pt>
                      <c:pt idx="433">
                        <c:v>50.855172413793099</c:v>
                      </c:pt>
                      <c:pt idx="434">
                        <c:v>50.724137931034484</c:v>
                      </c:pt>
                      <c:pt idx="435">
                        <c:v>50.517241379310342</c:v>
                      </c:pt>
                      <c:pt idx="436">
                        <c:v>50.255172413793098</c:v>
                      </c:pt>
                      <c:pt idx="437">
                        <c:v>49.95862068965517</c:v>
                      </c:pt>
                      <c:pt idx="438">
                        <c:v>49.724137931034484</c:v>
                      </c:pt>
                      <c:pt idx="439">
                        <c:v>49.296551724137927</c:v>
                      </c:pt>
                      <c:pt idx="440">
                        <c:v>47.013793103448272</c:v>
                      </c:pt>
                      <c:pt idx="441">
                        <c:v>46.862068965517238</c:v>
                      </c:pt>
                      <c:pt idx="442">
                        <c:v>35.151724137931033</c:v>
                      </c:pt>
                      <c:pt idx="443">
                        <c:v>33.089655172413792</c:v>
                      </c:pt>
                      <c:pt idx="444">
                        <c:v>31.489655172413794</c:v>
                      </c:pt>
                      <c:pt idx="445">
                        <c:v>30.944827586206895</c:v>
                      </c:pt>
                      <c:pt idx="446">
                        <c:v>29.379310344827587</c:v>
                      </c:pt>
                    </c:numCache>
                  </c:numRef>
                </c:yVal>
                <c:smooth val="0"/>
                <c:extLst xmlns:c15="http://schemas.microsoft.com/office/drawing/2012/chart">
                  <c:ext xmlns:c16="http://schemas.microsoft.com/office/drawing/2014/chart" uri="{C3380CC4-5D6E-409C-BE32-E72D297353CC}">
                    <c16:uniqueId val="{00000009-ED69-4A8E-A206-AA40F443BECF}"/>
                  </c:ext>
                </c:extLst>
              </c15:ser>
            </c15:filteredScatterSeries>
            <c15:filteredScatterSeries>
              <c15:ser>
                <c:idx val="11"/>
                <c:order val="11"/>
                <c:tx>
                  <c:strRef>
                    <c:extLst xmlns:c15="http://schemas.microsoft.com/office/drawing/2012/chart">
                      <c:ext xmlns:c15="http://schemas.microsoft.com/office/drawing/2012/chart" uri="{02D57815-91ED-43cb-92C2-25804820EDAC}">
                        <c15:formulaRef>
                          <c15:sqref>Data!$AC$6</c15:sqref>
                        </c15:formulaRef>
                      </c:ext>
                    </c:extLst>
                    <c:strCache>
                      <c:ptCount val="1"/>
                      <c:pt idx="0">
                        <c:v>6 Pressure</c:v>
                      </c:pt>
                    </c:strCache>
                  </c:strRef>
                </c:tx>
                <c:spPr>
                  <a:ln w="25400">
                    <a:solidFill>
                      <a:schemeClr val="accent2">
                        <a:lumMod val="75000"/>
                      </a:schemeClr>
                    </a:solidFill>
                    <a:prstDash val="sysDot"/>
                  </a:ln>
                </c:spPr>
                <c:marker>
                  <c:symbol val="none"/>
                </c:marker>
                <c:xVal>
                  <c:numRef>
                    <c:extLst xmlns:c15="http://schemas.microsoft.com/office/drawing/2012/chart">
                      <c:ext xmlns:c15="http://schemas.microsoft.com/office/drawing/2012/chart" uri="{02D57815-91ED-43cb-92C2-25804820EDAC}">
                        <c15:formulaRef>
                          <c15:sqref>Data!$AC$9:$AC$13</c15:sqref>
                        </c15:formulaRef>
                      </c:ext>
                    </c:extLst>
                    <c:numCache>
                      <c:formatCode>General</c:formatCode>
                      <c:ptCount val="5"/>
                      <c:pt idx="0">
                        <c:v>0</c:v>
                      </c:pt>
                      <c:pt idx="1">
                        <c:v>0</c:v>
                      </c:pt>
                      <c:pt idx="2">
                        <c:v>0</c:v>
                      </c:pt>
                      <c:pt idx="3">
                        <c:v>0</c:v>
                      </c:pt>
                      <c:pt idx="4">
                        <c:v>0</c:v>
                      </c:pt>
                    </c:numCache>
                  </c:numRef>
                </c:xVal>
                <c:yVal>
                  <c:numRef>
                    <c:extLst xmlns:c15="http://schemas.microsoft.com/office/drawing/2012/chart">
                      <c:ext xmlns:c15="http://schemas.microsoft.com/office/drawing/2012/chart" uri="{02D57815-91ED-43cb-92C2-25804820EDAC}">
                        <c15:formulaRef>
                          <c15:sqref>Data!$AB$9:$AB$13</c15:sqref>
                        </c15:formulaRef>
                      </c:ext>
                    </c:extLst>
                    <c:numCache>
                      <c:formatCode>General</c:formatCode>
                      <c:ptCount val="5"/>
                    </c:numCache>
                  </c:numRef>
                </c:yVal>
                <c:smooth val="0"/>
                <c:extLst xmlns:c15="http://schemas.microsoft.com/office/drawing/2012/chart">
                  <c:ext xmlns:c16="http://schemas.microsoft.com/office/drawing/2014/chart" uri="{C3380CC4-5D6E-409C-BE32-E72D297353CC}">
                    <c16:uniqueId val="{0000000B-ED69-4A8E-A206-AA40F443BECF}"/>
                  </c:ext>
                </c:extLst>
              </c15:ser>
            </c15:filteredScatterSeries>
          </c:ext>
        </c:extLst>
      </c:scatterChart>
      <c:valAx>
        <c:axId val="392394624"/>
        <c:scaling>
          <c:orientation val="minMax"/>
          <c:max val="400"/>
          <c:min val="0"/>
        </c:scaling>
        <c:delete val="0"/>
        <c:axPos val="b"/>
        <c:title>
          <c:tx>
            <c:rich>
              <a:bodyPr/>
              <a:lstStyle/>
              <a:p>
                <a:pPr>
                  <a:defRPr sz="1600" b="0">
                    <a:latin typeface="Arial" panose="020B0604020202020204" pitchFamily="34" charset="0"/>
                    <a:cs typeface="Arial" panose="020B0604020202020204" pitchFamily="34" charset="0"/>
                  </a:defRPr>
                </a:pPr>
                <a:r>
                  <a:rPr lang="en-US" sz="1600" b="0">
                    <a:latin typeface="Arial" panose="020B0604020202020204" pitchFamily="34" charset="0"/>
                    <a:cs typeface="Arial" panose="020B0604020202020204" pitchFamily="34" charset="0"/>
                  </a:rPr>
                  <a:t>Time (min)</a:t>
                </a:r>
              </a:p>
            </c:rich>
          </c:tx>
          <c:overlay val="0"/>
        </c:title>
        <c:numFmt formatCode="General" sourceLinked="0"/>
        <c:majorTickMark val="out"/>
        <c:minorTickMark val="none"/>
        <c:tickLblPos val="nextTo"/>
        <c:txPr>
          <a:bodyPr/>
          <a:lstStyle/>
          <a:p>
            <a:pPr>
              <a:defRPr sz="1400">
                <a:latin typeface="Arial"/>
                <a:ea typeface="Arial"/>
                <a:cs typeface="Arial"/>
              </a:defRPr>
            </a:pPr>
            <a:endParaRPr lang="en-US"/>
          </a:p>
        </c:txPr>
        <c:crossAx val="392400896"/>
        <c:crosses val="autoZero"/>
        <c:crossBetween val="midCat"/>
      </c:valAx>
      <c:valAx>
        <c:axId val="392400896"/>
        <c:scaling>
          <c:orientation val="minMax"/>
          <c:max val="350"/>
          <c:min val="100"/>
        </c:scaling>
        <c:delete val="0"/>
        <c:axPos val="l"/>
        <c:majorGridlines/>
        <c:title>
          <c:tx>
            <c:rich>
              <a:bodyPr rot="-5400000" vert="horz"/>
              <a:lstStyle/>
              <a:p>
                <a:pPr>
                  <a:defRPr sz="1600" b="0">
                    <a:latin typeface="Arial" panose="020B0604020202020204" pitchFamily="34" charset="0"/>
                    <a:cs typeface="Arial" panose="020B0604020202020204" pitchFamily="34" charset="0"/>
                  </a:defRPr>
                </a:pPr>
                <a:r>
                  <a:rPr lang="en-US" sz="1600" b="0">
                    <a:latin typeface="Arial" panose="020B0604020202020204" pitchFamily="34" charset="0"/>
                    <a:cs typeface="Arial" panose="020B0604020202020204" pitchFamily="34" charset="0"/>
                  </a:rPr>
                  <a:t>Temperature (°C)</a:t>
                </a:r>
              </a:p>
            </c:rich>
          </c:tx>
          <c:layout>
            <c:manualLayout>
              <c:xMode val="edge"/>
              <c:yMode val="edge"/>
              <c:x val="6.4194021387387458E-4"/>
              <c:y val="0.3541521808666237"/>
            </c:manualLayout>
          </c:layout>
          <c:overlay val="0"/>
        </c:title>
        <c:numFmt formatCode="General" sourceLinked="0"/>
        <c:majorTickMark val="out"/>
        <c:minorTickMark val="none"/>
        <c:tickLblPos val="nextTo"/>
        <c:txPr>
          <a:bodyPr/>
          <a:lstStyle/>
          <a:p>
            <a:pPr>
              <a:defRPr sz="1400">
                <a:latin typeface="Arial"/>
                <a:ea typeface="Arial"/>
                <a:cs typeface="Arial"/>
              </a:defRPr>
            </a:pPr>
            <a:endParaRPr lang="en-US"/>
          </a:p>
        </c:txPr>
        <c:crossAx val="392394624"/>
        <c:crosses val="autoZero"/>
        <c:crossBetween val="midCat"/>
      </c:valAx>
      <c:valAx>
        <c:axId val="392402816"/>
        <c:scaling>
          <c:orientation val="minMax"/>
        </c:scaling>
        <c:delete val="1"/>
        <c:axPos val="r"/>
        <c:numFmt formatCode="General" sourceLinked="0"/>
        <c:majorTickMark val="out"/>
        <c:minorTickMark val="none"/>
        <c:tickLblPos val="nextTo"/>
        <c:crossAx val="394563584"/>
        <c:crosses val="max"/>
        <c:crossBetween val="midCat"/>
      </c:valAx>
      <c:valAx>
        <c:axId val="394563584"/>
        <c:scaling>
          <c:orientation val="minMax"/>
        </c:scaling>
        <c:delete val="1"/>
        <c:axPos val="b"/>
        <c:numFmt formatCode="General" sourceLinked="1"/>
        <c:majorTickMark val="out"/>
        <c:minorTickMark val="none"/>
        <c:tickLblPos val="nextTo"/>
        <c:crossAx val="392402816"/>
        <c:crosses val="autoZero"/>
        <c:crossBetween val="midCat"/>
      </c:valAx>
      <c:spPr>
        <a:ln w="38100">
          <a:solidFill>
            <a:srgbClr val="3C3C3C"/>
          </a:solidFill>
        </a:ln>
      </c:spPr>
    </c:plotArea>
    <c:legend>
      <c:legendPos val="b"/>
      <c:layout>
        <c:manualLayout>
          <c:xMode val="edge"/>
          <c:yMode val="edge"/>
          <c:x val="0"/>
          <c:y val="0.92535943769427698"/>
          <c:w val="0.98412159146428291"/>
          <c:h val="7.4640562305723204E-2"/>
        </c:manualLayout>
      </c:layout>
      <c:overlay val="0"/>
      <c:txPr>
        <a:bodyPr/>
        <a:lstStyle/>
        <a:p>
          <a:pPr>
            <a:defRPr sz="1600">
              <a:latin typeface="Arial" panose="020B0604020202020204" pitchFamily="34" charset="0"/>
              <a:cs typeface="Arial" panose="020B0604020202020204" pitchFamily="34" charset="0"/>
            </a:defRPr>
          </a:pPr>
          <a:endParaRPr lang="en-US"/>
        </a:p>
      </c:txPr>
    </c:legend>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1BE46C69-C8F1-492E-9316-9AB7C6225AF4}" type="datetimeFigureOut">
              <a:rPr lang="de-DE" smtClean="0"/>
              <a:t>02.11.2022</a:t>
            </a:fld>
            <a:endParaRPr lang="de-DE"/>
          </a:p>
        </p:txBody>
      </p:sp>
      <p:sp>
        <p:nvSpPr>
          <p:cNvPr id="4" name="Fußzeilenplatzhalter 3"/>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a:p>
        </p:txBody>
      </p:sp>
      <p:sp>
        <p:nvSpPr>
          <p:cNvPr id="5" name="Foliennummernplatzhalter 4"/>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6B5E19FD-0356-4E38-81BF-CC2CC5DB7AD8}" type="slidenum">
              <a:rPr lang="de-DE" smtClean="0"/>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FA48B922-56C9-46FC-9595-9C2DEF7C3E2B}" type="datetimeFigureOut">
              <a:rPr lang="de-DE" smtClean="0"/>
              <a:t>02.11.2022</a:t>
            </a:fld>
            <a:endParaRPr lang="de-DE"/>
          </a:p>
        </p:txBody>
      </p:sp>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a:p>
        </p:txBody>
      </p:sp>
      <p:sp>
        <p:nvSpPr>
          <p:cNvPr id="7" name="Foliennummernplatzhalt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A8D1544D-F39A-4F55-BC21-9BE909A9BACC}" type="slidenum">
              <a:rPr lang="de-DE" smtClean="0"/>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913872" rtl="0" eaLnBrk="1" latinLnBrk="0" hangingPunct="1">
      <a:defRPr sz="1200" kern="1200">
        <a:solidFill>
          <a:schemeClr val="tx1"/>
        </a:solidFill>
        <a:latin typeface="+mn-lt"/>
        <a:ea typeface="+mn-ea"/>
        <a:cs typeface="+mn-cs"/>
      </a:defRPr>
    </a:lvl1pPr>
    <a:lvl2pPr marL="456937" algn="l" defTabSz="913872" rtl="0" eaLnBrk="1" latinLnBrk="0" hangingPunct="1">
      <a:defRPr sz="1200" kern="1200">
        <a:solidFill>
          <a:schemeClr val="tx1"/>
        </a:solidFill>
        <a:latin typeface="+mn-lt"/>
        <a:ea typeface="+mn-ea"/>
        <a:cs typeface="+mn-cs"/>
      </a:defRPr>
    </a:lvl2pPr>
    <a:lvl3pPr marL="913872" algn="l" defTabSz="913872" rtl="0" eaLnBrk="1" latinLnBrk="0" hangingPunct="1">
      <a:defRPr sz="1200" kern="1200">
        <a:solidFill>
          <a:schemeClr val="tx1"/>
        </a:solidFill>
        <a:latin typeface="+mn-lt"/>
        <a:ea typeface="+mn-ea"/>
        <a:cs typeface="+mn-cs"/>
      </a:defRPr>
    </a:lvl3pPr>
    <a:lvl4pPr marL="1370808" algn="l" defTabSz="913872" rtl="0" eaLnBrk="1" latinLnBrk="0" hangingPunct="1">
      <a:defRPr sz="1200" kern="1200">
        <a:solidFill>
          <a:schemeClr val="tx1"/>
        </a:solidFill>
        <a:latin typeface="+mn-lt"/>
        <a:ea typeface="+mn-ea"/>
        <a:cs typeface="+mn-cs"/>
      </a:defRPr>
    </a:lvl4pPr>
    <a:lvl5pPr marL="1827742" algn="l" defTabSz="913872" rtl="0" eaLnBrk="1" latinLnBrk="0" hangingPunct="1">
      <a:defRPr sz="1200" kern="1200">
        <a:solidFill>
          <a:schemeClr val="tx1"/>
        </a:solidFill>
        <a:latin typeface="+mn-lt"/>
        <a:ea typeface="+mn-ea"/>
        <a:cs typeface="+mn-cs"/>
      </a:defRPr>
    </a:lvl5pPr>
    <a:lvl6pPr marL="2284680" algn="l" defTabSz="913872" rtl="0" eaLnBrk="1" latinLnBrk="0" hangingPunct="1">
      <a:defRPr sz="1200" kern="1200">
        <a:solidFill>
          <a:schemeClr val="tx1"/>
        </a:solidFill>
        <a:latin typeface="+mn-lt"/>
        <a:ea typeface="+mn-ea"/>
        <a:cs typeface="+mn-cs"/>
      </a:defRPr>
    </a:lvl6pPr>
    <a:lvl7pPr marL="2741617" algn="l" defTabSz="913872" rtl="0" eaLnBrk="1" latinLnBrk="0" hangingPunct="1">
      <a:defRPr sz="1200" kern="1200">
        <a:solidFill>
          <a:schemeClr val="tx1"/>
        </a:solidFill>
        <a:latin typeface="+mn-lt"/>
        <a:ea typeface="+mn-ea"/>
        <a:cs typeface="+mn-cs"/>
      </a:defRPr>
    </a:lvl7pPr>
    <a:lvl8pPr marL="3198551" algn="l" defTabSz="913872" rtl="0" eaLnBrk="1" latinLnBrk="0" hangingPunct="1">
      <a:defRPr sz="1200" kern="1200">
        <a:solidFill>
          <a:schemeClr val="tx1"/>
        </a:solidFill>
        <a:latin typeface="+mn-lt"/>
        <a:ea typeface="+mn-ea"/>
        <a:cs typeface="+mn-cs"/>
      </a:defRPr>
    </a:lvl8pPr>
    <a:lvl9pPr marL="3655487" algn="l" defTabSz="9138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8D1544D-F39A-4F55-BC21-9BE909A9BACC}" type="slidenum">
              <a:rPr lang="de-DE" smtClean="0"/>
              <a:t>1</a:t>
            </a:fld>
            <a:endParaRPr lang="de-DE"/>
          </a:p>
        </p:txBody>
      </p:sp>
    </p:spTree>
    <p:extLst>
      <p:ext uri="{BB962C8B-B14F-4D97-AF65-F5344CB8AC3E}">
        <p14:creationId xmlns:p14="http://schemas.microsoft.com/office/powerpoint/2010/main" val="1949630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10</a:t>
            </a:fld>
            <a:endParaRPr lang="en-US" dirty="0"/>
          </a:p>
        </p:txBody>
      </p:sp>
    </p:spTree>
    <p:extLst>
      <p:ext uri="{BB962C8B-B14F-4D97-AF65-F5344CB8AC3E}">
        <p14:creationId xmlns:p14="http://schemas.microsoft.com/office/powerpoint/2010/main" val="1070154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r>
              <a:rPr lang="en-GB" dirty="0"/>
              <a:t>Pure conductive model for settled powder and immobile wet cake (powder thermal conductivity dominant in former, solvent conductivity probably dominant in latter).</a:t>
            </a:r>
          </a:p>
          <a:p>
            <a:r>
              <a:rPr lang="en-GB" dirty="0"/>
              <a:t>In slurry, convective model assumes agitation off; whereas well-stirred model when agitator functional - but as this latter is not worst-case, we've ignored this model</a:t>
            </a:r>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11</a:t>
            </a:fld>
            <a:endParaRPr lang="en-US" dirty="0"/>
          </a:p>
        </p:txBody>
      </p:sp>
    </p:spTree>
    <p:extLst>
      <p:ext uri="{BB962C8B-B14F-4D97-AF65-F5344CB8AC3E}">
        <p14:creationId xmlns:p14="http://schemas.microsoft.com/office/powerpoint/2010/main" val="31357301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12</a:t>
            </a:fld>
            <a:endParaRPr lang="en-US" dirty="0"/>
          </a:p>
        </p:txBody>
      </p:sp>
    </p:spTree>
    <p:extLst>
      <p:ext uri="{BB962C8B-B14F-4D97-AF65-F5344CB8AC3E}">
        <p14:creationId xmlns:p14="http://schemas.microsoft.com/office/powerpoint/2010/main" val="18944329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13</a:t>
            </a:fld>
            <a:endParaRPr lang="en-US" dirty="0"/>
          </a:p>
        </p:txBody>
      </p:sp>
    </p:spTree>
    <p:extLst>
      <p:ext uri="{BB962C8B-B14F-4D97-AF65-F5344CB8AC3E}">
        <p14:creationId xmlns:p14="http://schemas.microsoft.com/office/powerpoint/2010/main" val="3459112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2</a:t>
            </a:fld>
            <a:endParaRPr lang="en-US" dirty="0"/>
          </a:p>
        </p:txBody>
      </p:sp>
    </p:spTree>
    <p:extLst>
      <p:ext uri="{BB962C8B-B14F-4D97-AF65-F5344CB8AC3E}">
        <p14:creationId xmlns:p14="http://schemas.microsoft.com/office/powerpoint/2010/main" val="4107257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3</a:t>
            </a:fld>
            <a:endParaRPr lang="en-US" dirty="0"/>
          </a:p>
        </p:txBody>
      </p:sp>
    </p:spTree>
    <p:extLst>
      <p:ext uri="{BB962C8B-B14F-4D97-AF65-F5344CB8AC3E}">
        <p14:creationId xmlns:p14="http://schemas.microsoft.com/office/powerpoint/2010/main" val="3640851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4</a:t>
            </a:fld>
            <a:endParaRPr lang="en-US" dirty="0"/>
          </a:p>
        </p:txBody>
      </p:sp>
    </p:spTree>
    <p:extLst>
      <p:ext uri="{BB962C8B-B14F-4D97-AF65-F5344CB8AC3E}">
        <p14:creationId xmlns:p14="http://schemas.microsoft.com/office/powerpoint/2010/main" val="920684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r>
              <a:rPr lang="fi-FI" dirty="0"/>
              <a:t>Explain TD24</a:t>
            </a:r>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5</a:t>
            </a:fld>
            <a:endParaRPr lang="en-US" dirty="0"/>
          </a:p>
        </p:txBody>
      </p:sp>
    </p:spTree>
    <p:extLst>
      <p:ext uri="{BB962C8B-B14F-4D97-AF65-F5344CB8AC3E}">
        <p14:creationId xmlns:p14="http://schemas.microsoft.com/office/powerpoint/2010/main" val="557840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6</a:t>
            </a:fld>
            <a:endParaRPr lang="en-US" dirty="0"/>
          </a:p>
        </p:txBody>
      </p:sp>
    </p:spTree>
    <p:extLst>
      <p:ext uri="{BB962C8B-B14F-4D97-AF65-F5344CB8AC3E}">
        <p14:creationId xmlns:p14="http://schemas.microsoft.com/office/powerpoint/2010/main" val="1482370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7</a:t>
            </a:fld>
            <a:endParaRPr lang="en-US" dirty="0"/>
          </a:p>
        </p:txBody>
      </p:sp>
    </p:spTree>
    <p:extLst>
      <p:ext uri="{BB962C8B-B14F-4D97-AF65-F5344CB8AC3E}">
        <p14:creationId xmlns:p14="http://schemas.microsoft.com/office/powerpoint/2010/main" val="3360510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8</a:t>
            </a:fld>
            <a:endParaRPr lang="en-US" dirty="0"/>
          </a:p>
        </p:txBody>
      </p:sp>
    </p:spTree>
    <p:extLst>
      <p:ext uri="{BB962C8B-B14F-4D97-AF65-F5344CB8AC3E}">
        <p14:creationId xmlns:p14="http://schemas.microsoft.com/office/powerpoint/2010/main" val="3369830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r>
              <a:rPr lang="en-GB" dirty="0"/>
              <a:t>Too energetic for apparatus at 4 g fill, at 2 g fill, etc, despite increasing phi factor (suggest you should explain this,).  So need to raise phi factor to mitigate max. conditions - hence inert solid (assumed to only add phi, not influence kinetics by change in concentration).</a:t>
            </a:r>
          </a:p>
          <a:p>
            <a:r>
              <a:rPr lang="en-GB" dirty="0"/>
              <a:t>For the wet cases, same assumptions of extra solvent acting as heat sink, but not accounting for concentration affecting kinetics.</a:t>
            </a:r>
          </a:p>
          <a:p>
            <a:endParaRPr lang="en-GB" dirty="0"/>
          </a:p>
          <a:p>
            <a:r>
              <a:rPr lang="en-GB" dirty="0"/>
              <a:t>Particle density to yield accurate void space for gas quantification.</a:t>
            </a:r>
          </a:p>
          <a:p>
            <a:r>
              <a:rPr lang="en-GB" dirty="0"/>
              <a:t>Cp as a function of temperature to allow accurate heat release calculation</a:t>
            </a:r>
          </a:p>
          <a:p>
            <a:r>
              <a:rPr lang="en-GB" dirty="0"/>
              <a:t>Thermal conductivity for simulations when kinetic model is applied to heat-loss behaviour in plant vessels</a:t>
            </a:r>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9</a:t>
            </a:fld>
            <a:endParaRPr lang="en-US" dirty="0"/>
          </a:p>
        </p:txBody>
      </p:sp>
    </p:spTree>
    <p:extLst>
      <p:ext uri="{BB962C8B-B14F-4D97-AF65-F5344CB8AC3E}">
        <p14:creationId xmlns:p14="http://schemas.microsoft.com/office/powerpoint/2010/main" val="26801294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316038"/>
            <a:ext cx="10515600" cy="2852737"/>
          </a:xfrm>
        </p:spPr>
        <p:txBody>
          <a:bodyPr anchor="b"/>
          <a:lstStyle>
            <a:lvl1pPr>
              <a:defRPr sz="6000"/>
            </a:lvl1pPr>
          </a:lstStyle>
          <a:p>
            <a:r>
              <a:rPr lang="de-DE"/>
              <a:t>Mastertitelformat bearbeiten</a:t>
            </a:r>
            <a:endParaRPr lang="en-US" dirty="0"/>
          </a:p>
        </p:txBody>
      </p:sp>
      <p:sp>
        <p:nvSpPr>
          <p:cNvPr id="3" name="Text Placeholder 2"/>
          <p:cNvSpPr>
            <a:spLocks noGrp="1"/>
          </p:cNvSpPr>
          <p:nvPr>
            <p:ph type="body" idx="1"/>
          </p:nvPr>
        </p:nvSpPr>
        <p:spPr>
          <a:xfrm>
            <a:off x="831850" y="41830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8" name="Fußzeilenplatzhalter 1">
            <a:extLst>
              <a:ext uri="{FF2B5EF4-FFF2-40B4-BE49-F238E27FC236}">
                <a16:creationId xmlns:a16="http://schemas.microsoft.com/office/drawing/2014/main" id="{49F54E6F-7EC5-48B6-B008-7D59E5BFDAE3}"/>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Tree>
    <p:extLst>
      <p:ext uri="{BB962C8B-B14F-4D97-AF65-F5344CB8AC3E}">
        <p14:creationId xmlns:p14="http://schemas.microsoft.com/office/powerpoint/2010/main" val="1702038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343025"/>
            <a:ext cx="12192000" cy="4351338"/>
          </a:xfrm>
          <a:prstGeom prst="rect">
            <a:avLst/>
          </a:prstGeom>
        </p:spPr>
        <p:txBody>
          <a:bodyPr/>
          <a:lstStyle>
            <a:lvl1pPr>
              <a:defRPr sz="1200"/>
            </a:lvl1pPr>
            <a:lvl2pPr>
              <a:defRPr sz="1000"/>
            </a:lvl2pPr>
            <a:lvl3pPr marL="914400" indent="0">
              <a:buNone/>
              <a:defRPr/>
            </a:lvl3pPr>
          </a:lstStyle>
          <a:p>
            <a:pPr lvl="2"/>
            <a:endParaRPr lang="en-US" dirty="0"/>
          </a:p>
        </p:txBody>
      </p:sp>
      <p:sp>
        <p:nvSpPr>
          <p:cNvPr id="7" name="Fußzeilenplatzhalter 1">
            <a:extLst>
              <a:ext uri="{FF2B5EF4-FFF2-40B4-BE49-F238E27FC236}">
                <a16:creationId xmlns:a16="http://schemas.microsoft.com/office/drawing/2014/main" id="{602D9523-801A-41B2-9435-02AADE9B4756}"/>
              </a:ext>
            </a:extLst>
          </p:cNvPr>
          <p:cNvSpPr txBox="1">
            <a:spLocks/>
          </p:cNvSpPr>
          <p:nvPr userDrawn="1"/>
        </p:nvSpPr>
        <p:spPr>
          <a:xfrm>
            <a:off x="821870" y="6414425"/>
            <a:ext cx="2092049" cy="182563"/>
          </a:xfrm>
          <a:prstGeom prst="rect">
            <a:avLst/>
          </a:prstGeom>
        </p:spPr>
        <p:txBody>
          <a:bodyPr/>
          <a:lstStyle>
            <a:defPPr>
              <a:defRPr lang="en-US"/>
            </a:defPPr>
            <a:lvl1pPr marL="0" algn="l" defTabSz="457200" rtl="0" eaLnBrk="1" latinLnBrk="0" hangingPunct="1">
              <a:defRPr lang="de-DE" sz="800" kern="1200" dirty="0" smtClean="0">
                <a:solidFill>
                  <a:schemeClr val="bg1">
                    <a:lumMod val="50000"/>
                  </a:schemeClr>
                </a:solidFill>
                <a:latin typeface="+mn-lt"/>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a:t>Hier einen Text einfügen</a:t>
            </a:r>
          </a:p>
        </p:txBody>
      </p:sp>
      <p:sp>
        <p:nvSpPr>
          <p:cNvPr id="8" name="Titel 3">
            <a:extLst>
              <a:ext uri="{FF2B5EF4-FFF2-40B4-BE49-F238E27FC236}">
                <a16:creationId xmlns:a16="http://schemas.microsoft.com/office/drawing/2014/main" id="{0577092B-DF29-45E2-BF23-B6D6128948CC}"/>
              </a:ext>
            </a:extLst>
          </p:cNvPr>
          <p:cNvSpPr>
            <a:spLocks noGrp="1"/>
          </p:cNvSpPr>
          <p:nvPr>
            <p:ph type="title"/>
          </p:nvPr>
        </p:nvSpPr>
        <p:spPr>
          <a:xfrm>
            <a:off x="799200" y="450000"/>
            <a:ext cx="3654583" cy="408068"/>
          </a:xfrm>
          <a:prstGeom prst="rect">
            <a:avLst/>
          </a:prstGeom>
        </p:spPr>
        <p:txBody>
          <a:bodyPr>
            <a:noAutofit/>
          </a:bodyPr>
          <a:lstStyle>
            <a:lvl1pPr>
              <a:defRPr sz="2500">
                <a:solidFill>
                  <a:schemeClr val="tx1"/>
                </a:solidFill>
              </a:defRPr>
            </a:lvl1pPr>
          </a:lstStyle>
          <a:p>
            <a:endParaRPr lang="de-DE" dirty="0"/>
          </a:p>
        </p:txBody>
      </p:sp>
      <p:sp>
        <p:nvSpPr>
          <p:cNvPr id="5" name="Textplatzhalter 14">
            <a:extLst>
              <a:ext uri="{FF2B5EF4-FFF2-40B4-BE49-F238E27FC236}">
                <a16:creationId xmlns:a16="http://schemas.microsoft.com/office/drawing/2014/main" id="{8B740564-2243-461C-B833-688434E326F8}"/>
              </a:ext>
            </a:extLst>
          </p:cNvPr>
          <p:cNvSpPr>
            <a:spLocks noGrp="1"/>
          </p:cNvSpPr>
          <p:nvPr>
            <p:ph idx="10"/>
          </p:nvPr>
        </p:nvSpPr>
        <p:spPr>
          <a:xfrm>
            <a:off x="799200" y="830900"/>
            <a:ext cx="376264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1127239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355725"/>
            <a:ext cx="5181600" cy="4351338"/>
          </a:xfrm>
          <a:prstGeom prst="rect">
            <a:avLst/>
          </a:prstGeom>
        </p:spPr>
        <p:txBody>
          <a:bodyPr/>
          <a:lstStyle>
            <a:lvl1pPr>
              <a:defRPr sz="1200"/>
            </a:lvl1pPr>
            <a:lvl2pPr>
              <a:defRPr sz="1000"/>
            </a:lvl2pPr>
          </a:lstStyle>
          <a:p>
            <a:pPr lvl="0"/>
            <a:r>
              <a:rPr lang="de-DE" dirty="0"/>
              <a:t>Mastertextformat bearbeiten</a:t>
            </a:r>
          </a:p>
          <a:p>
            <a:pPr lvl="1"/>
            <a:r>
              <a:rPr lang="de-DE" dirty="0"/>
              <a:t>Zweite Ebene</a:t>
            </a:r>
          </a:p>
        </p:txBody>
      </p:sp>
      <p:sp>
        <p:nvSpPr>
          <p:cNvPr id="4" name="Content Placeholder 3"/>
          <p:cNvSpPr>
            <a:spLocks noGrp="1"/>
          </p:cNvSpPr>
          <p:nvPr>
            <p:ph sz="half" idx="2"/>
          </p:nvPr>
        </p:nvSpPr>
        <p:spPr>
          <a:xfrm>
            <a:off x="6172200" y="1355725"/>
            <a:ext cx="5181600" cy="4351338"/>
          </a:xfrm>
          <a:prstGeom prst="rect">
            <a:avLst/>
          </a:prstGeom>
        </p:spPr>
        <p:txBody>
          <a:bodyPr/>
          <a:lstStyle>
            <a:lvl1pPr>
              <a:defRPr sz="1200"/>
            </a:lvl1pPr>
            <a:lvl2pPr>
              <a:defRPr sz="1000"/>
            </a:lvl2pPr>
          </a:lstStyle>
          <a:p>
            <a:pPr lvl="0"/>
            <a:r>
              <a:rPr lang="de-DE" dirty="0"/>
              <a:t>Mastertextformat bearbeiten</a:t>
            </a:r>
          </a:p>
          <a:p>
            <a:pPr lvl="1"/>
            <a:r>
              <a:rPr lang="de-DE" dirty="0"/>
              <a:t>Zweite Ebene</a:t>
            </a:r>
          </a:p>
          <a:p>
            <a:pPr lvl="2"/>
            <a:endParaRPr lang="en-US" dirty="0"/>
          </a:p>
        </p:txBody>
      </p:sp>
      <p:sp>
        <p:nvSpPr>
          <p:cNvPr id="8" name="Titel 3">
            <a:extLst>
              <a:ext uri="{FF2B5EF4-FFF2-40B4-BE49-F238E27FC236}">
                <a16:creationId xmlns:a16="http://schemas.microsoft.com/office/drawing/2014/main" id="{39D5C2E7-7BF8-4DD1-A1D4-4DD7A441198D}"/>
              </a:ext>
            </a:extLst>
          </p:cNvPr>
          <p:cNvSpPr>
            <a:spLocks noGrp="1"/>
          </p:cNvSpPr>
          <p:nvPr>
            <p:ph type="title"/>
          </p:nvPr>
        </p:nvSpPr>
        <p:spPr>
          <a:xfrm>
            <a:off x="799200" y="450000"/>
            <a:ext cx="3654583" cy="408068"/>
          </a:xfrm>
          <a:prstGeom prst="rect">
            <a:avLst/>
          </a:prstGeom>
        </p:spPr>
        <p:txBody>
          <a:bodyPr>
            <a:noAutofit/>
          </a:bodyPr>
          <a:lstStyle>
            <a:lvl1pPr>
              <a:defRPr sz="2500">
                <a:solidFill>
                  <a:schemeClr val="tx1"/>
                </a:solidFill>
              </a:defRPr>
            </a:lvl1pPr>
          </a:lstStyle>
          <a:p>
            <a:endParaRPr lang="de-DE" dirty="0"/>
          </a:p>
        </p:txBody>
      </p:sp>
      <p:sp>
        <p:nvSpPr>
          <p:cNvPr id="11" name="Fußzeilenplatzhalter 1">
            <a:extLst>
              <a:ext uri="{FF2B5EF4-FFF2-40B4-BE49-F238E27FC236}">
                <a16:creationId xmlns:a16="http://schemas.microsoft.com/office/drawing/2014/main" id="{4CF17D37-8100-4818-8837-DAEBB5FC22D7}"/>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6" name="Textplatzhalter 14">
            <a:extLst>
              <a:ext uri="{FF2B5EF4-FFF2-40B4-BE49-F238E27FC236}">
                <a16:creationId xmlns:a16="http://schemas.microsoft.com/office/drawing/2014/main" id="{21EBD1AF-73C8-44FB-A03C-A17170E0E63D}"/>
              </a:ext>
            </a:extLst>
          </p:cNvPr>
          <p:cNvSpPr>
            <a:spLocks noGrp="1"/>
          </p:cNvSpPr>
          <p:nvPr>
            <p:ph idx="11"/>
          </p:nvPr>
        </p:nvSpPr>
        <p:spPr>
          <a:xfrm>
            <a:off x="799200" y="830900"/>
            <a:ext cx="377280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8341080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3851E3C-79B5-44A5-8B0A-C3C78ED30985}"/>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6" name="Rechteck 5">
            <a:extLst>
              <a:ext uri="{FF2B5EF4-FFF2-40B4-BE49-F238E27FC236}">
                <a16:creationId xmlns:a16="http://schemas.microsoft.com/office/drawing/2014/main" id="{7AED8AFA-0AB9-4F8F-BE49-63606EEDE219}"/>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9" name="Textplatzhalter 19">
            <a:extLst>
              <a:ext uri="{FF2B5EF4-FFF2-40B4-BE49-F238E27FC236}">
                <a16:creationId xmlns:a16="http://schemas.microsoft.com/office/drawing/2014/main" id="{F5F99063-69AF-4779-AB72-FC86018E0366}"/>
              </a:ext>
            </a:extLst>
          </p:cNvPr>
          <p:cNvSpPr>
            <a:spLocks noGrp="1"/>
          </p:cNvSpPr>
          <p:nvPr>
            <p:ph type="body" sz="quarter" idx="14"/>
          </p:nvPr>
        </p:nvSpPr>
        <p:spPr>
          <a:xfrm>
            <a:off x="821868" y="1520185"/>
            <a:ext cx="3716867" cy="4217911"/>
          </a:xfrm>
          <a:prstGeom prst="rect">
            <a:avLst/>
          </a:prstGeom>
        </p:spPr>
        <p:txBody>
          <a:bodyPr/>
          <a:lstStyle>
            <a:lvl1pPr marL="0" indent="0">
              <a:buClr>
                <a:srgbClr val="008C4F"/>
              </a:buClr>
              <a:buFont typeface="Wingdings" panose="05000000000000000000" pitchFamily="2" charset="2"/>
              <a:buNone/>
              <a:defRPr sz="1200"/>
            </a:lvl1pPr>
            <a:lvl2pPr marL="685783" indent="-228594">
              <a:buClr>
                <a:srgbClr val="008C4F"/>
              </a:buClr>
              <a:buFont typeface="Wingdings" panose="05000000000000000000" pitchFamily="2" charset="2"/>
              <a:buChar char="§"/>
              <a:defRPr sz="1000"/>
            </a:lvl2pPr>
            <a:lvl3pPr marL="1142971" indent="-228594">
              <a:buClr>
                <a:srgbClr val="008C4F"/>
              </a:buClr>
              <a:buFont typeface="Wingdings" panose="05000000000000000000" pitchFamily="2" charset="2"/>
              <a:buChar char="§"/>
              <a:defRPr sz="1400"/>
            </a:lvl3pPr>
            <a:lvl4pPr marL="1600160" indent="-228594">
              <a:buClr>
                <a:srgbClr val="008C4F"/>
              </a:buClr>
              <a:buFont typeface="Wingdings" panose="05000000000000000000" pitchFamily="2" charset="2"/>
              <a:buChar char="§"/>
              <a:defRPr sz="1000"/>
            </a:lvl4pPr>
          </a:lstStyle>
          <a:p>
            <a:pPr lvl="0"/>
            <a:r>
              <a:rPr lang="de-DE" dirty="0"/>
              <a:t>Mastertextformat bearbeiten</a:t>
            </a:r>
          </a:p>
          <a:p>
            <a:pPr lvl="1"/>
            <a:r>
              <a:rPr lang="de-DE" dirty="0"/>
              <a:t>Zweite Ebene</a:t>
            </a:r>
          </a:p>
        </p:txBody>
      </p:sp>
      <p:sp>
        <p:nvSpPr>
          <p:cNvPr id="10" name="Titel 3">
            <a:extLst>
              <a:ext uri="{FF2B5EF4-FFF2-40B4-BE49-F238E27FC236}">
                <a16:creationId xmlns:a16="http://schemas.microsoft.com/office/drawing/2014/main" id="{E2A87AB1-48F5-49F0-B9D2-0213BF82DAD9}"/>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7" name="Textplatzhalter 14">
            <a:extLst>
              <a:ext uri="{FF2B5EF4-FFF2-40B4-BE49-F238E27FC236}">
                <a16:creationId xmlns:a16="http://schemas.microsoft.com/office/drawing/2014/main" id="{A7BE4613-37DF-4A7F-B00A-33FF8EEF78C6}"/>
              </a:ext>
            </a:extLst>
          </p:cNvPr>
          <p:cNvSpPr>
            <a:spLocks noGrp="1"/>
          </p:cNvSpPr>
          <p:nvPr>
            <p:ph idx="1"/>
          </p:nvPr>
        </p:nvSpPr>
        <p:spPr>
          <a:xfrm>
            <a:off x="799200" y="830900"/>
            <a:ext cx="3739535"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235015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ark">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98A342A-2953-4CD4-B74E-5CFD8463FF1E}"/>
              </a:ext>
            </a:extLst>
          </p:cNvPr>
          <p:cNvSpPr>
            <a:spLocks noGrp="1"/>
          </p:cNvSpPr>
          <p:nvPr>
            <p:ph sz="half" idx="1"/>
          </p:nvPr>
        </p:nvSpPr>
        <p:spPr>
          <a:xfrm>
            <a:off x="0" y="1125416"/>
            <a:ext cx="12191998" cy="5732584"/>
          </a:xfrm>
          <a:prstGeom prst="rect">
            <a:avLst/>
          </a:prstGeom>
        </p:spPr>
        <p:txBody>
          <a:bodyPr/>
          <a:lstStyle>
            <a:lvl1pPr marL="0" indent="0">
              <a:buNone/>
              <a:defRPr sz="1200"/>
            </a:lvl1pPr>
            <a:lvl2pPr>
              <a:defRPr sz="1000"/>
            </a:lvl2pPr>
          </a:lstStyle>
          <a:p>
            <a:pPr lvl="0"/>
            <a:endParaRPr lang="de-DE" dirty="0"/>
          </a:p>
        </p:txBody>
      </p:sp>
      <p:sp>
        <p:nvSpPr>
          <p:cNvPr id="10" name="Fußzeilenplatzhalter 1">
            <a:extLst>
              <a:ext uri="{FF2B5EF4-FFF2-40B4-BE49-F238E27FC236}">
                <a16:creationId xmlns:a16="http://schemas.microsoft.com/office/drawing/2014/main" id="{DA8FA368-D848-4BEC-BCF0-014C65273296}"/>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19" name="Rechteck 18">
            <a:extLst>
              <a:ext uri="{FF2B5EF4-FFF2-40B4-BE49-F238E27FC236}">
                <a16:creationId xmlns:a16="http://schemas.microsoft.com/office/drawing/2014/main" id="{19ABDA7A-DAF9-46BB-9641-7C40F2DC1A66}"/>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2" name="Titel 3">
            <a:extLst>
              <a:ext uri="{FF2B5EF4-FFF2-40B4-BE49-F238E27FC236}">
                <a16:creationId xmlns:a16="http://schemas.microsoft.com/office/drawing/2014/main" id="{AD299EA3-D623-4765-872B-9FC85E639B63}"/>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7" name="Textplatzhalter 14">
            <a:extLst>
              <a:ext uri="{FF2B5EF4-FFF2-40B4-BE49-F238E27FC236}">
                <a16:creationId xmlns:a16="http://schemas.microsoft.com/office/drawing/2014/main" id="{A8768B1B-597D-433C-9AFE-59A263822BAB}"/>
              </a:ext>
            </a:extLst>
          </p:cNvPr>
          <p:cNvSpPr>
            <a:spLocks noGrp="1"/>
          </p:cNvSpPr>
          <p:nvPr>
            <p:ph idx="11"/>
          </p:nvPr>
        </p:nvSpPr>
        <p:spPr>
          <a:xfrm>
            <a:off x="799200" y="830900"/>
            <a:ext cx="374232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277560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mall">
    <p:spTree>
      <p:nvGrpSpPr>
        <p:cNvPr id="1" name=""/>
        <p:cNvGrpSpPr/>
        <p:nvPr/>
      </p:nvGrpSpPr>
      <p:grpSpPr>
        <a:xfrm>
          <a:off x="0" y="0"/>
          <a:ext cx="0" cy="0"/>
          <a:chOff x="0" y="0"/>
          <a:chExt cx="0" cy="0"/>
        </a:xfrm>
      </p:grpSpPr>
      <p:cxnSp>
        <p:nvCxnSpPr>
          <p:cNvPr id="5" name="Gerader Verbinder 2">
            <a:extLst>
              <a:ext uri="{FF2B5EF4-FFF2-40B4-BE49-F238E27FC236}">
                <a16:creationId xmlns:a16="http://schemas.microsoft.com/office/drawing/2014/main" id="{2706C069-1162-4ACA-A6BC-33CE94EFAE7F}"/>
              </a:ext>
            </a:extLst>
          </p:cNvPr>
          <p:cNvCxnSpPr>
            <a:cxnSpLocks/>
          </p:cNvCxnSpPr>
          <p:nvPr userDrawn="1"/>
        </p:nvCxnSpPr>
        <p:spPr>
          <a:xfrm flipH="1">
            <a:off x="2" y="1150375"/>
            <a:ext cx="81174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Fußzeilenplatzhalter 1">
            <a:extLst>
              <a:ext uri="{FF2B5EF4-FFF2-40B4-BE49-F238E27FC236}">
                <a16:creationId xmlns:a16="http://schemas.microsoft.com/office/drawing/2014/main" id="{5E05F8DD-6B18-4A7E-88B7-26E495320099}"/>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21" name="Rechteck 20">
            <a:extLst>
              <a:ext uri="{FF2B5EF4-FFF2-40B4-BE49-F238E27FC236}">
                <a16:creationId xmlns:a16="http://schemas.microsoft.com/office/drawing/2014/main" id="{72EC0CE3-67E3-42FA-888D-F118D9ECB4F3}"/>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4" name="Titel 3">
            <a:extLst>
              <a:ext uri="{FF2B5EF4-FFF2-40B4-BE49-F238E27FC236}">
                <a16:creationId xmlns:a16="http://schemas.microsoft.com/office/drawing/2014/main" id="{0135B7C1-B8AE-48CB-BD5B-6FCFEC7AF8DF}"/>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11" name="Textplatzhalter 19">
            <a:extLst>
              <a:ext uri="{FF2B5EF4-FFF2-40B4-BE49-F238E27FC236}">
                <a16:creationId xmlns:a16="http://schemas.microsoft.com/office/drawing/2014/main" id="{F7BF3322-5569-4911-883C-996374E79A47}"/>
              </a:ext>
            </a:extLst>
          </p:cNvPr>
          <p:cNvSpPr>
            <a:spLocks noGrp="1"/>
          </p:cNvSpPr>
          <p:nvPr>
            <p:ph type="body" sz="quarter" idx="14"/>
          </p:nvPr>
        </p:nvSpPr>
        <p:spPr>
          <a:xfrm>
            <a:off x="821868" y="1520185"/>
            <a:ext cx="3716867" cy="4217911"/>
          </a:xfrm>
          <a:prstGeom prst="rect">
            <a:avLst/>
          </a:prstGeom>
        </p:spPr>
        <p:txBody>
          <a:bodyPr/>
          <a:lstStyle>
            <a:lvl1pPr marL="0" indent="0">
              <a:buClr>
                <a:srgbClr val="008C4F"/>
              </a:buClr>
              <a:buFont typeface="Wingdings" panose="05000000000000000000" pitchFamily="2" charset="2"/>
              <a:buNone/>
              <a:defRPr sz="1200"/>
            </a:lvl1pPr>
            <a:lvl2pPr marL="685783" indent="-228594">
              <a:buClr>
                <a:srgbClr val="008C4F"/>
              </a:buClr>
              <a:buFont typeface="Wingdings" panose="05000000000000000000" pitchFamily="2" charset="2"/>
              <a:buChar char="§"/>
              <a:defRPr sz="1000"/>
            </a:lvl2pPr>
            <a:lvl3pPr marL="1142971" indent="-228594">
              <a:buClr>
                <a:srgbClr val="008C4F"/>
              </a:buClr>
              <a:buFont typeface="Wingdings" panose="05000000000000000000" pitchFamily="2" charset="2"/>
              <a:buChar char="§"/>
              <a:defRPr sz="1400"/>
            </a:lvl3pPr>
            <a:lvl4pPr marL="1600160" indent="-228594">
              <a:buClr>
                <a:srgbClr val="008C4F"/>
              </a:buClr>
              <a:buFont typeface="Wingdings" panose="05000000000000000000" pitchFamily="2" charset="2"/>
              <a:buChar char="§"/>
              <a:defRPr sz="1000"/>
            </a:lvl4pPr>
          </a:lstStyle>
          <a:p>
            <a:pPr lvl="0"/>
            <a:r>
              <a:rPr lang="de-DE" dirty="0"/>
              <a:t>Mastertextformat bearbeiten</a:t>
            </a:r>
          </a:p>
          <a:p>
            <a:pPr lvl="1"/>
            <a:r>
              <a:rPr lang="de-DE" dirty="0"/>
              <a:t>Zweite Ebene</a:t>
            </a:r>
          </a:p>
        </p:txBody>
      </p:sp>
      <p:sp>
        <p:nvSpPr>
          <p:cNvPr id="10" name="Bildplatzhalter 5">
            <a:extLst>
              <a:ext uri="{FF2B5EF4-FFF2-40B4-BE49-F238E27FC236}">
                <a16:creationId xmlns:a16="http://schemas.microsoft.com/office/drawing/2014/main" id="{7F680953-6B83-445A-8583-F7CCE0E07597}"/>
              </a:ext>
            </a:extLst>
          </p:cNvPr>
          <p:cNvSpPr>
            <a:spLocks noGrp="1"/>
          </p:cNvSpPr>
          <p:nvPr>
            <p:ph type="pic" sz="quarter" idx="12"/>
          </p:nvPr>
        </p:nvSpPr>
        <p:spPr>
          <a:xfrm>
            <a:off x="8439670" y="0"/>
            <a:ext cx="3752328" cy="5707624"/>
          </a:xfrm>
          <a:prstGeom prst="rect">
            <a:avLst/>
          </a:prstGeom>
          <a:ln>
            <a:solidFill>
              <a:schemeClr val="accent1"/>
            </a:solidFill>
          </a:ln>
        </p:spPr>
        <p:txBody>
          <a:bodyPr anchor="ctr"/>
          <a:lstStyle>
            <a:lvl1pPr algn="ctr">
              <a:defRPr>
                <a:solidFill>
                  <a:schemeClr val="tx1"/>
                </a:solidFill>
              </a:defRPr>
            </a:lvl1pPr>
          </a:lstStyle>
          <a:p>
            <a:endParaRPr lang="de-DE"/>
          </a:p>
        </p:txBody>
      </p:sp>
      <p:sp>
        <p:nvSpPr>
          <p:cNvPr id="9" name="Textplatzhalter 14">
            <a:extLst>
              <a:ext uri="{FF2B5EF4-FFF2-40B4-BE49-F238E27FC236}">
                <a16:creationId xmlns:a16="http://schemas.microsoft.com/office/drawing/2014/main" id="{1D93CDA5-10E3-437B-82BB-E2037302D120}"/>
              </a:ext>
            </a:extLst>
          </p:cNvPr>
          <p:cNvSpPr>
            <a:spLocks noGrp="1"/>
          </p:cNvSpPr>
          <p:nvPr>
            <p:ph idx="1"/>
          </p:nvPr>
        </p:nvSpPr>
        <p:spPr>
          <a:xfrm>
            <a:off x="799200" y="830900"/>
            <a:ext cx="3739535"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431890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79726" y="1758926"/>
            <a:ext cx="4675871" cy="4278423"/>
          </a:xfrm>
          <a:prstGeom prst="rect">
            <a:avLst/>
          </a:prstGeom>
        </p:spPr>
      </p:pic>
      <p:sp>
        <p:nvSpPr>
          <p:cNvPr id="9" name="Titel 8"/>
          <p:cNvSpPr>
            <a:spLocks noGrp="1"/>
          </p:cNvSpPr>
          <p:nvPr>
            <p:ph type="title"/>
          </p:nvPr>
        </p:nvSpPr>
        <p:spPr bwMode="gray"/>
        <p:txBody>
          <a:bodyPr/>
          <a:lstStyle/>
          <a:p>
            <a:r>
              <a:rPr lang="de-DE"/>
              <a:t>Titelmasterformat durch Klicken bearbeiten</a:t>
            </a:r>
            <a:endParaRPr lang="en-US" noProof="0" dirty="0"/>
          </a:p>
        </p:txBody>
      </p:sp>
      <p:sp>
        <p:nvSpPr>
          <p:cNvPr id="13" name="Foliennummernplatzhalter 12"/>
          <p:cNvSpPr>
            <a:spLocks noGrp="1"/>
          </p:cNvSpPr>
          <p:nvPr>
            <p:ph type="sldNum" sz="quarter" idx="10"/>
          </p:nvPr>
        </p:nvSpPr>
        <p:spPr bwMode="gray"/>
        <p:txBody>
          <a:bodyPr/>
          <a:lstStyle/>
          <a:p>
            <a:r>
              <a:rPr lang="en-US" dirty="0"/>
              <a:t>Slide</a:t>
            </a:r>
            <a:r>
              <a:rPr lang="en-US" noProof="0" dirty="0"/>
              <a:t> </a:t>
            </a:r>
            <a:fld id="{165E2D8B-FD9B-4A9E-8AEA-D09FA928FD2A}" type="slidenum">
              <a:rPr lang="en-US" noProof="0" smtClean="0"/>
              <a:pPr/>
              <a:t>‹#›</a:t>
            </a:fld>
            <a:endParaRPr lang="en-US" noProof="0" dirty="0"/>
          </a:p>
        </p:txBody>
      </p:sp>
      <p:sp>
        <p:nvSpPr>
          <p:cNvPr id="3" name="Subtitle 2"/>
          <p:cNvSpPr>
            <a:spLocks noGrp="1"/>
          </p:cNvSpPr>
          <p:nvPr>
            <p:ph type="subTitle" idx="1" hasCustomPrompt="1"/>
          </p:nvPr>
        </p:nvSpPr>
        <p:spPr bwMode="gray">
          <a:xfrm>
            <a:off x="624417" y="5121659"/>
            <a:ext cx="7199383" cy="802892"/>
          </a:xfrm>
        </p:spPr>
        <p:txBody>
          <a:bodyPr/>
          <a:lstStyle>
            <a:lvl1pPr marL="0" indent="0" algn="l">
              <a:buNone/>
              <a:defRPr sz="4800" b="0"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text</a:t>
            </a:r>
          </a:p>
        </p:txBody>
      </p:sp>
      <p:sp>
        <p:nvSpPr>
          <p:cNvPr id="6" name="Rechteck 5"/>
          <p:cNvSpPr/>
          <p:nvPr userDrawn="1"/>
        </p:nvSpPr>
        <p:spPr bwMode="gray">
          <a:xfrm>
            <a:off x="527381" y="6612843"/>
            <a:ext cx="7200000" cy="144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marL="239994" indent="-239994" algn="ctr">
              <a:spcBef>
                <a:spcPts val="800"/>
              </a:spcBef>
              <a:spcAft>
                <a:spcPts val="800"/>
              </a:spcAft>
              <a:buFont typeface="Wingdings" panose="05000000000000000000" pitchFamily="2" charset="2"/>
              <a:buChar char="§"/>
            </a:pPr>
            <a:endParaRPr lang="en-US" sz="1867" dirty="0"/>
          </a:p>
        </p:txBody>
      </p:sp>
    </p:spTree>
    <p:extLst>
      <p:ext uri="{BB962C8B-B14F-4D97-AF65-F5344CB8AC3E}">
        <p14:creationId xmlns:p14="http://schemas.microsoft.com/office/powerpoint/2010/main" val="3716983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nl-NL" noProof="0"/>
              <a:t>Titelstijl van model bewerken</a:t>
            </a:r>
            <a:endParaRPr lang="en-US" noProof="0" dirty="0"/>
          </a:p>
        </p:txBody>
      </p:sp>
      <p:sp>
        <p:nvSpPr>
          <p:cNvPr id="10" name="Textplatzhalter 9"/>
          <p:cNvSpPr>
            <a:spLocks noGrp="1"/>
          </p:cNvSpPr>
          <p:nvPr>
            <p:ph type="body" sz="quarter" idx="11"/>
          </p:nvPr>
        </p:nvSpPr>
        <p:spPr bwMode="gray">
          <a:xfrm>
            <a:off x="624000" y="1484313"/>
            <a:ext cx="7199200" cy="4608512"/>
          </a:xfrm>
        </p:spPr>
        <p:txBody>
          <a:bodyPr/>
          <a:lstStyle/>
          <a:p>
            <a:pPr lvl="0"/>
            <a:r>
              <a:rPr lang="nl-NL" noProof="0"/>
              <a:t>Klik om de tekststijl van het model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US" noProof="0" dirty="0"/>
          </a:p>
        </p:txBody>
      </p:sp>
      <p:sp>
        <p:nvSpPr>
          <p:cNvPr id="2" name="Slide Number Placeholder 1"/>
          <p:cNvSpPr>
            <a:spLocks noGrp="1"/>
          </p:cNvSpPr>
          <p:nvPr>
            <p:ph type="sldNum" sz="quarter" idx="12"/>
          </p:nvPr>
        </p:nvSpPr>
        <p:spPr/>
        <p:txBody>
          <a:bodyPr/>
          <a:lstStyle/>
          <a:p>
            <a:r>
              <a:rPr lang="en-US" noProof="0" dirty="0"/>
              <a:t>Slide </a:t>
            </a:r>
            <a:fld id="{165E2D8B-FD9B-4A9E-8AEA-D09FA928FD2A}" type="slidenum">
              <a:rPr lang="en-US" noProof="0" smtClean="0"/>
              <a:pPr/>
              <a:t>‹#›</a:t>
            </a:fld>
            <a:endParaRPr lang="en-US" noProof="0" dirty="0"/>
          </a:p>
        </p:txBody>
      </p:sp>
    </p:spTree>
    <p:extLst>
      <p:ext uri="{BB962C8B-B14F-4D97-AF65-F5344CB8AC3E}">
        <p14:creationId xmlns:p14="http://schemas.microsoft.com/office/powerpoint/2010/main" val="217237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elen Dank!">
    <p:spTree>
      <p:nvGrpSpPr>
        <p:cNvPr id="1" name=""/>
        <p:cNvGrpSpPr/>
        <p:nvPr/>
      </p:nvGrpSpPr>
      <p:grpSpPr>
        <a:xfrm>
          <a:off x="0" y="0"/>
          <a:ext cx="0" cy="0"/>
          <a:chOff x="0" y="0"/>
          <a:chExt cx="0" cy="0"/>
        </a:xfrm>
      </p:grpSpPr>
      <p:pic>
        <p:nvPicPr>
          <p:cNvPr id="27" name="Grafik 26"/>
          <p:cNvPicPr>
            <a:picLocks noChangeAspect="1"/>
          </p:cNvPicPr>
          <p:nvPr userDrawn="1"/>
        </p:nvPicPr>
        <p:blipFill rotWithShape="1">
          <a:blip r:embed="rId3" cstate="print">
            <a:extLst>
              <a:ext uri="{28A0092B-C50C-407E-A947-70E740481C1C}">
                <a14:useLocalDpi xmlns:a14="http://schemas.microsoft.com/office/drawing/2010/main" val="0"/>
              </a:ext>
            </a:extLst>
          </a:blip>
          <a:srcRect l="26215" r="20660"/>
          <a:stretch/>
        </p:blipFill>
        <p:spPr bwMode="gray">
          <a:xfrm>
            <a:off x="-1" y="1796661"/>
            <a:ext cx="12192001" cy="2640452"/>
          </a:xfrm>
          <a:prstGeom prst="rect">
            <a:avLst/>
          </a:prstGeom>
        </p:spPr>
      </p:pic>
      <p:sp>
        <p:nvSpPr>
          <p:cNvPr id="7" name="Foliennummernplatzhalter 6"/>
          <p:cNvSpPr>
            <a:spLocks noGrp="1"/>
          </p:cNvSpPr>
          <p:nvPr>
            <p:ph type="sldNum" sz="quarter" idx="10"/>
          </p:nvPr>
        </p:nvSpPr>
        <p:spPr bwMode="gray"/>
        <p:txBody>
          <a:bodyPr/>
          <a:lstStyle/>
          <a:p>
            <a:r>
              <a:rPr lang="de-DE" noProof="0" dirty="0"/>
              <a:t>Seite </a:t>
            </a:r>
            <a:fld id="{165E2D8B-FD9B-4A9E-8AEA-D09FA928FD2A}" type="slidenum">
              <a:rPr lang="de-DE" noProof="0" smtClean="0"/>
              <a:pPr/>
              <a:t>‹#›</a:t>
            </a:fld>
            <a:endParaRPr lang="de-DE" noProof="0" dirty="0"/>
          </a:p>
        </p:txBody>
      </p:sp>
      <p:sp>
        <p:nvSpPr>
          <p:cNvPr id="6" name="Textplatzhalter 5"/>
          <p:cNvSpPr>
            <a:spLocks noGrp="1"/>
          </p:cNvSpPr>
          <p:nvPr>
            <p:ph type="body" sz="quarter" idx="11"/>
          </p:nvPr>
        </p:nvSpPr>
        <p:spPr bwMode="gray">
          <a:xfrm>
            <a:off x="624418" y="4053418"/>
            <a:ext cx="7198783" cy="1871133"/>
          </a:xfrm>
        </p:spPr>
        <p:txBody>
          <a:bodyPr tIns="36000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9" name="Titel 8"/>
          <p:cNvSpPr>
            <a:spLocks noGrp="1"/>
          </p:cNvSpPr>
          <p:nvPr>
            <p:ph type="title"/>
          </p:nvPr>
        </p:nvSpPr>
        <p:spPr bwMode="gray">
          <a:xfrm>
            <a:off x="624000" y="452967"/>
            <a:ext cx="7199200" cy="1439333"/>
          </a:xfrm>
        </p:spPr>
        <p:txBody>
          <a:bodyPr/>
          <a:lstStyle>
            <a:lvl1pPr>
              <a:defRPr sz="4800"/>
            </a:lvl1pPr>
          </a:lstStyle>
          <a:p>
            <a:r>
              <a:rPr lang="de-DE" noProof="0" dirty="0"/>
              <a:t>Titelmasterformat durch Klicken bearbeiten</a:t>
            </a:r>
          </a:p>
        </p:txBody>
      </p:sp>
    </p:spTree>
    <p:custDataLst>
      <p:tags r:id="rId1"/>
    </p:custDataLst>
    <p:extLst>
      <p:ext uri="{BB962C8B-B14F-4D97-AF65-F5344CB8AC3E}">
        <p14:creationId xmlns:p14="http://schemas.microsoft.com/office/powerpoint/2010/main" val="54155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9200" y="862956"/>
            <a:ext cx="3793120" cy="456902"/>
          </a:xfrm>
          <a:prstGeom prst="rect">
            <a:avLst/>
          </a:prstGeom>
        </p:spPr>
        <p:txBody>
          <a:bodyPr vert="horz" lIns="91440" tIns="45720" rIns="91440" bIns="45720" rtlCol="0" anchor="ctr">
            <a:normAutofit/>
          </a:bodyPr>
          <a:lstStyle/>
          <a:p>
            <a:pPr lvl="0"/>
            <a:endParaRPr lang="en-US" dirty="0"/>
          </a:p>
        </p:txBody>
      </p:sp>
      <p:sp>
        <p:nvSpPr>
          <p:cNvPr id="7" name="Fußzeilenplatzhalter 1">
            <a:extLst>
              <a:ext uri="{FF2B5EF4-FFF2-40B4-BE49-F238E27FC236}">
                <a16:creationId xmlns:a16="http://schemas.microsoft.com/office/drawing/2014/main" id="{FDC77516-F218-409A-8E21-9C9C19B13490}"/>
              </a:ext>
            </a:extLst>
          </p:cNvPr>
          <p:cNvSpPr>
            <a:spLocks noGrp="1"/>
          </p:cNvSpPr>
          <p:nvPr>
            <p:ph type="ftr" sz="quarter" idx="3"/>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8" name="TextBox 9">
            <a:extLst>
              <a:ext uri="{FF2B5EF4-FFF2-40B4-BE49-F238E27FC236}">
                <a16:creationId xmlns:a16="http://schemas.microsoft.com/office/drawing/2014/main" id="{06048F43-F8A2-4FFE-95C5-3E8981B387FC}"/>
              </a:ext>
            </a:extLst>
          </p:cNvPr>
          <p:cNvSpPr txBox="1"/>
          <p:nvPr userDrawn="1"/>
        </p:nvSpPr>
        <p:spPr>
          <a:xfrm>
            <a:off x="373698" y="6394923"/>
            <a:ext cx="388209" cy="215425"/>
          </a:xfrm>
          <a:prstGeom prst="rect">
            <a:avLst/>
          </a:prstGeom>
          <a:noFill/>
        </p:spPr>
        <p:txBody>
          <a:bodyPr wrap="none" lIns="91421" tIns="45711" rIns="91421" bIns="45711" rtlCol="0">
            <a:spAutoFit/>
          </a:bodyPr>
          <a:lstStyle/>
          <a:p>
            <a:pPr algn="ctr"/>
            <a:fld id="{260E2A6B-A809-4840-BF14-8648BC0BDF87}" type="slidenum">
              <a:rPr lang="id-ID" sz="800" kern="1200" smtClean="0">
                <a:solidFill>
                  <a:schemeClr val="bg1">
                    <a:lumMod val="50000"/>
                  </a:schemeClr>
                </a:solidFill>
                <a:latin typeface="+mn-lt"/>
                <a:ea typeface="+mn-ea"/>
                <a:cs typeface="Arial" panose="020B0604020202020204" pitchFamily="34" charset="0"/>
              </a:rPr>
              <a:pPr algn="ctr"/>
              <a:t>‹#›</a:t>
            </a:fld>
            <a:endParaRPr lang="id-ID" sz="800" kern="1200" dirty="0">
              <a:solidFill>
                <a:schemeClr val="bg1">
                  <a:lumMod val="50000"/>
                </a:schemeClr>
              </a:solidFill>
              <a:latin typeface="+mn-lt"/>
              <a:ea typeface="+mn-ea"/>
              <a:cs typeface="Arial" panose="020B0604020202020204" pitchFamily="34" charset="0"/>
            </a:endParaRPr>
          </a:p>
        </p:txBody>
      </p:sp>
      <p:pic>
        <p:nvPicPr>
          <p:cNvPr id="9" name="Grafik 8">
            <a:extLst>
              <a:ext uri="{FF2B5EF4-FFF2-40B4-BE49-F238E27FC236}">
                <a16:creationId xmlns:a16="http://schemas.microsoft.com/office/drawing/2014/main" id="{30386401-674B-45BB-A768-2A86109384B5}"/>
              </a:ext>
            </a:extLst>
          </p:cNvPr>
          <p:cNvPicPr preferRelativeResize="0">
            <a:picLocks/>
          </p:cNvPicPr>
          <p:nvPr userDrawn="1"/>
        </p:nvPicPr>
        <p:blipFill rotWithShape="1">
          <a:blip r:embed="rId11"/>
          <a:srcRect t="1377" r="2016"/>
          <a:stretch/>
        </p:blipFill>
        <p:spPr>
          <a:xfrm>
            <a:off x="11404800" y="6134400"/>
            <a:ext cx="475200" cy="475200"/>
          </a:xfrm>
          <a:prstGeom prst="rect">
            <a:avLst/>
          </a:prstGeom>
        </p:spPr>
      </p:pic>
      <p:sp>
        <p:nvSpPr>
          <p:cNvPr id="10" name="Rechteck 9">
            <a:extLst>
              <a:ext uri="{FF2B5EF4-FFF2-40B4-BE49-F238E27FC236}">
                <a16:creationId xmlns:a16="http://schemas.microsoft.com/office/drawing/2014/main" id="{2E672F80-0943-46D0-8585-1DA2BB8E38D1}"/>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1" name="Textplatzhalter 19">
            <a:extLst>
              <a:ext uri="{FF2B5EF4-FFF2-40B4-BE49-F238E27FC236}">
                <a16:creationId xmlns:a16="http://schemas.microsoft.com/office/drawing/2014/main" id="{E6A93A2C-F960-4D49-8612-0D4EEAC004B2}"/>
              </a:ext>
            </a:extLst>
          </p:cNvPr>
          <p:cNvSpPr txBox="1">
            <a:spLocks/>
          </p:cNvSpPr>
          <p:nvPr userDrawn="1"/>
        </p:nvSpPr>
        <p:spPr>
          <a:xfrm>
            <a:off x="821868" y="1520185"/>
            <a:ext cx="10492932" cy="4217911"/>
          </a:xfrm>
          <a:prstGeom prst="rect">
            <a:avLst/>
          </a:prstGeom>
        </p:spPr>
        <p:txBody>
          <a:bodyPr/>
          <a:lstStyle>
            <a:lvl1pPr marL="0" indent="0" algn="l" defTabSz="914400" rtl="0" eaLnBrk="1" latinLnBrk="0" hangingPunct="1">
              <a:lnSpc>
                <a:spcPct val="90000"/>
              </a:lnSpc>
              <a:spcBef>
                <a:spcPts val="1000"/>
              </a:spcBef>
              <a:buClr>
                <a:srgbClr val="008C4F"/>
              </a:buClr>
              <a:buFont typeface="Wingdings" panose="05000000000000000000" pitchFamily="2" charset="2"/>
              <a:buNone/>
              <a:defRPr sz="1200" kern="1200">
                <a:solidFill>
                  <a:schemeClr val="tx1"/>
                </a:solidFill>
                <a:latin typeface="+mn-lt"/>
                <a:ea typeface="+mn-ea"/>
                <a:cs typeface="+mn-cs"/>
              </a:defRPr>
            </a:lvl1pPr>
            <a:lvl2pPr marL="685783" indent="-228594" algn="l" defTabSz="914400" rtl="0" eaLnBrk="1" latinLnBrk="0" hangingPunct="1">
              <a:lnSpc>
                <a:spcPct val="90000"/>
              </a:lnSpc>
              <a:spcBef>
                <a:spcPts val="500"/>
              </a:spcBef>
              <a:buClr>
                <a:srgbClr val="008C4F"/>
              </a:buClr>
              <a:buFont typeface="Wingdings" panose="05000000000000000000" pitchFamily="2" charset="2"/>
              <a:buChar char="§"/>
              <a:defRPr sz="1000" kern="1200">
                <a:solidFill>
                  <a:schemeClr val="tx1"/>
                </a:solidFill>
                <a:latin typeface="+mn-lt"/>
                <a:ea typeface="+mn-ea"/>
                <a:cs typeface="+mn-cs"/>
              </a:defRPr>
            </a:lvl2pPr>
            <a:lvl3pPr marL="1142971" indent="-228594" algn="l" defTabSz="914400" rtl="0" eaLnBrk="1" latinLnBrk="0" hangingPunct="1">
              <a:lnSpc>
                <a:spcPct val="90000"/>
              </a:lnSpc>
              <a:spcBef>
                <a:spcPts val="500"/>
              </a:spcBef>
              <a:buClr>
                <a:srgbClr val="008C4F"/>
              </a:buClr>
              <a:buFont typeface="Wingdings" panose="05000000000000000000" pitchFamily="2" charset="2"/>
              <a:buChar char="§"/>
              <a:defRPr sz="1400" kern="1200">
                <a:solidFill>
                  <a:schemeClr val="tx1"/>
                </a:solidFill>
                <a:latin typeface="+mn-lt"/>
                <a:ea typeface="+mn-ea"/>
                <a:cs typeface="+mn-cs"/>
              </a:defRPr>
            </a:lvl3pPr>
            <a:lvl4pPr marL="1600160" indent="-228594" algn="l" defTabSz="914400" rtl="0" eaLnBrk="1" latinLnBrk="0" hangingPunct="1">
              <a:lnSpc>
                <a:spcPct val="90000"/>
              </a:lnSpc>
              <a:spcBef>
                <a:spcPts val="500"/>
              </a:spcBef>
              <a:buClr>
                <a:srgbClr val="008C4F"/>
              </a:buClr>
              <a:buFont typeface="Wingdings" panose="05000000000000000000" pitchFamily="2" charset="2"/>
              <a:buChar char="§"/>
              <a:defRPr sz="1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14" name="Title Placeholder 1">
            <a:extLst>
              <a:ext uri="{FF2B5EF4-FFF2-40B4-BE49-F238E27FC236}">
                <a16:creationId xmlns:a16="http://schemas.microsoft.com/office/drawing/2014/main" id="{9B0C97B2-DC52-4C3B-8DFC-1446D3042532}"/>
              </a:ext>
            </a:extLst>
          </p:cNvPr>
          <p:cNvSpPr txBox="1">
            <a:spLocks/>
          </p:cNvSpPr>
          <p:nvPr userDrawn="1"/>
        </p:nvSpPr>
        <p:spPr>
          <a:xfrm>
            <a:off x="799200" y="811332"/>
            <a:ext cx="10515600" cy="4569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US" sz="2500" kern="1200" dirty="0">
                <a:solidFill>
                  <a:schemeClr val="tx1"/>
                </a:solidFill>
                <a:latin typeface="+mj-lt"/>
                <a:ea typeface="+mj-ea"/>
                <a:cs typeface="+mj-cs"/>
              </a:defRPr>
            </a:lvl1pPr>
          </a:lstStyle>
          <a:p>
            <a:endParaRPr lang="de-DE"/>
          </a:p>
        </p:txBody>
      </p:sp>
      <p:sp>
        <p:nvSpPr>
          <p:cNvPr id="15" name="Textplatzhalter 14">
            <a:extLst>
              <a:ext uri="{FF2B5EF4-FFF2-40B4-BE49-F238E27FC236}">
                <a16:creationId xmlns:a16="http://schemas.microsoft.com/office/drawing/2014/main" id="{71CAB64D-29C4-47C3-AE6F-9D4A099E5101}"/>
              </a:ext>
            </a:extLst>
          </p:cNvPr>
          <p:cNvSpPr>
            <a:spLocks noGrp="1"/>
          </p:cNvSpPr>
          <p:nvPr>
            <p:ph type="body" idx="1"/>
          </p:nvPr>
        </p:nvSpPr>
        <p:spPr>
          <a:xfrm>
            <a:off x="799200" y="1342175"/>
            <a:ext cx="379312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pic>
        <p:nvPicPr>
          <p:cNvPr id="6" name="Picture 5">
            <a:extLst>
              <a:ext uri="{FF2B5EF4-FFF2-40B4-BE49-F238E27FC236}">
                <a16:creationId xmlns:a16="http://schemas.microsoft.com/office/drawing/2014/main" id="{9384EB78-2026-9529-D367-9BD99B3BC593}"/>
              </a:ext>
            </a:extLst>
          </p:cNvPr>
          <p:cNvPicPr>
            <a:picLocks noChangeAspect="1"/>
          </p:cNvPicPr>
          <p:nvPr userDrawn="1"/>
        </p:nvPicPr>
        <p:blipFill>
          <a:blip r:embed="rId12"/>
          <a:stretch>
            <a:fillRect/>
          </a:stretch>
        </p:blipFill>
        <p:spPr>
          <a:xfrm>
            <a:off x="2508193" y="6419050"/>
            <a:ext cx="7175614" cy="438950"/>
          </a:xfrm>
          <a:prstGeom prst="rect">
            <a:avLst/>
          </a:prstGeom>
        </p:spPr>
      </p:pic>
    </p:spTree>
    <p:extLst>
      <p:ext uri="{BB962C8B-B14F-4D97-AF65-F5344CB8AC3E}">
        <p14:creationId xmlns:p14="http://schemas.microsoft.com/office/powerpoint/2010/main" val="2431491330"/>
      </p:ext>
    </p:extLst>
  </p:cSld>
  <p:clrMap bg1="lt1" tx1="dk1" bg2="lt2" tx2="dk2" accent1="accent1" accent2="accent2" accent3="accent3" accent4="accent4" accent5="accent5" accent6="accent6" hlink="hlink" folHlink="folHlink"/>
  <p:sldLayoutIdLst>
    <p:sldLayoutId id="2147483705" r:id="rId1"/>
    <p:sldLayoutId id="2147483704" r:id="rId2"/>
    <p:sldLayoutId id="2147483706" r:id="rId3"/>
    <p:sldLayoutId id="2147483714" r:id="rId4"/>
    <p:sldLayoutId id="2147483722" r:id="rId5"/>
    <p:sldLayoutId id="2147483723" r:id="rId6"/>
    <p:sldLayoutId id="2147483724" r:id="rId7"/>
    <p:sldLayoutId id="2147483726" r:id="rId8"/>
    <p:sldLayoutId id="2147483734" r:id="rId9"/>
  </p:sldLayoutIdLst>
  <p:hf sldNum="0" hdr="0" dt="0"/>
  <p:txStyles>
    <p:titleStyle>
      <a:lvl1pPr algn="l" defTabSz="914400" rtl="0" eaLnBrk="1" latinLnBrk="0" hangingPunct="1">
        <a:lnSpc>
          <a:spcPct val="90000"/>
        </a:lnSpc>
        <a:spcBef>
          <a:spcPct val="0"/>
        </a:spcBef>
        <a:buNone/>
        <a:defRPr lang="en-US" sz="2500" b="1" kern="1200" dirty="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10.xml"/><Relationship Id="rId4" Type="http://schemas.openxmlformats.org/officeDocument/2006/relationships/image" Target="../media/image13.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sv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7.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p:cNvSpPr txBox="1"/>
          <p:nvPr/>
        </p:nvSpPr>
        <p:spPr>
          <a:xfrm>
            <a:off x="755374" y="665105"/>
            <a:ext cx="10744199" cy="4955203"/>
          </a:xfrm>
          <a:prstGeom prst="rect">
            <a:avLst/>
          </a:prstGeom>
          <a:noFill/>
        </p:spPr>
        <p:txBody>
          <a:bodyPr wrap="square" rtlCol="0">
            <a:spAutoFit/>
          </a:bodyPr>
          <a:lstStyle/>
          <a:p>
            <a:pPr algn="ctr"/>
            <a:r>
              <a:rPr lang="en-GB" sz="3600" b="1" dirty="0">
                <a:solidFill>
                  <a:schemeClr val="accent2"/>
                </a:solidFill>
                <a:latin typeface="Century Gothic" panose="020B0502020202020204" pitchFamily="34" charset="0"/>
              </a:rPr>
              <a:t>Investigating a Complex Energetic Decomposition Incident using Kinetic Modelling to Establish Safe Manufacturing Conditions</a:t>
            </a:r>
          </a:p>
          <a:p>
            <a:pPr algn="ctr"/>
            <a:endParaRPr lang="de-DE" sz="3600" dirty="0">
              <a:solidFill>
                <a:schemeClr val="accent2"/>
              </a:solidFill>
              <a:latin typeface="Century Gothic" panose="020B0502020202020204" pitchFamily="34" charset="0"/>
            </a:endParaRPr>
          </a:p>
          <a:p>
            <a:pPr algn="r"/>
            <a:endParaRPr lang="de-DE" sz="2000" dirty="0">
              <a:solidFill>
                <a:schemeClr val="accent2"/>
              </a:solidFill>
              <a:latin typeface="Century Gothic" panose="020B0502020202020204" pitchFamily="34" charset="0"/>
            </a:endParaRPr>
          </a:p>
          <a:p>
            <a:pPr algn="r"/>
            <a:endParaRPr lang="de-DE" sz="2000" dirty="0">
              <a:solidFill>
                <a:schemeClr val="accent2"/>
              </a:solidFill>
              <a:latin typeface="Century Gothic" panose="020B0502020202020204" pitchFamily="34" charset="0"/>
            </a:endParaRPr>
          </a:p>
          <a:p>
            <a:r>
              <a:rPr lang="de-DE" sz="2400" dirty="0">
                <a:solidFill>
                  <a:schemeClr val="accent2"/>
                </a:solidFill>
                <a:latin typeface="Century Gothic" panose="020B0502020202020204" pitchFamily="34" charset="0"/>
              </a:rPr>
              <a:t>Stephen Rowe</a:t>
            </a:r>
          </a:p>
          <a:p>
            <a:r>
              <a:rPr lang="de-DE" sz="2400" dirty="0">
                <a:solidFill>
                  <a:schemeClr val="accent2"/>
                </a:solidFill>
                <a:latin typeface="Century Gothic" panose="020B0502020202020204" pitchFamily="34" charset="0"/>
              </a:rPr>
              <a:t>Keith Middle</a:t>
            </a:r>
          </a:p>
          <a:p>
            <a:endParaRPr lang="de-DE" sz="2400" dirty="0">
              <a:solidFill>
                <a:schemeClr val="accent1"/>
              </a:solidFill>
              <a:latin typeface="Century Gothic" panose="020B0502020202020204" pitchFamily="34" charset="0"/>
            </a:endParaRPr>
          </a:p>
          <a:p>
            <a:r>
              <a:rPr lang="de-DE" sz="2400" b="1" dirty="0">
                <a:solidFill>
                  <a:schemeClr val="accent2"/>
                </a:solidFill>
                <a:latin typeface="Century Gothic" panose="020B0502020202020204" pitchFamily="34" charset="0"/>
              </a:rPr>
              <a:t>DEKRA UK Ltd</a:t>
            </a:r>
          </a:p>
          <a:p>
            <a:endParaRPr lang="de-DE" sz="3600" b="1" dirty="0">
              <a:latin typeface="Century Gothic" panose="020B0502020202020204" pitchFamily="34" charset="0"/>
            </a:endParaRPr>
          </a:p>
        </p:txBody>
      </p:sp>
      <p:sp>
        <p:nvSpPr>
          <p:cNvPr id="3" name="TextBox 2">
            <a:extLst>
              <a:ext uri="{FF2B5EF4-FFF2-40B4-BE49-F238E27FC236}">
                <a16:creationId xmlns:a16="http://schemas.microsoft.com/office/drawing/2014/main" id="{87F4970F-2FFA-0724-96BA-9821ADA30EDE}"/>
              </a:ext>
            </a:extLst>
          </p:cNvPr>
          <p:cNvSpPr txBox="1"/>
          <p:nvPr/>
        </p:nvSpPr>
        <p:spPr>
          <a:xfrm>
            <a:off x="5332689" y="2812976"/>
            <a:ext cx="6166884" cy="3046988"/>
          </a:xfrm>
          <a:prstGeom prst="rect">
            <a:avLst/>
          </a:prstGeom>
          <a:noFill/>
        </p:spPr>
        <p:txBody>
          <a:bodyPr wrap="square" rtlCol="0">
            <a:spAutoFit/>
          </a:bodyPr>
          <a:lstStyle/>
          <a:p>
            <a:r>
              <a:rPr lang="en-GB" sz="2400" b="1" dirty="0"/>
              <a:t>Contents</a:t>
            </a:r>
          </a:p>
          <a:p>
            <a:pPr marL="285750" indent="-285750">
              <a:buFont typeface="Arial" panose="020B0604020202020204" pitchFamily="34" charset="0"/>
              <a:buChar char="•"/>
            </a:pPr>
            <a:r>
              <a:rPr lang="en-GB" sz="2400" dirty="0"/>
              <a:t>Material and Process Information</a:t>
            </a:r>
          </a:p>
          <a:p>
            <a:pPr marL="285750" indent="-285750">
              <a:buFont typeface="Arial" panose="020B0604020202020204" pitchFamily="34" charset="0"/>
              <a:buChar char="•"/>
            </a:pPr>
            <a:r>
              <a:rPr lang="en-GB" sz="2400" dirty="0"/>
              <a:t>Incident description</a:t>
            </a:r>
          </a:p>
          <a:p>
            <a:pPr marL="285750" indent="-285750">
              <a:buFont typeface="Arial" panose="020B0604020202020204" pitchFamily="34" charset="0"/>
              <a:buChar char="•"/>
            </a:pPr>
            <a:r>
              <a:rPr lang="en-GB" sz="2400" dirty="0"/>
              <a:t>Incident cause determination</a:t>
            </a:r>
          </a:p>
          <a:p>
            <a:pPr marL="285750" indent="-285750">
              <a:buFont typeface="Arial" panose="020B0604020202020204" pitchFamily="34" charset="0"/>
              <a:buChar char="•"/>
            </a:pPr>
            <a:r>
              <a:rPr lang="en-GB" sz="2400" dirty="0"/>
              <a:t>Defining “safe” material temperatures</a:t>
            </a:r>
          </a:p>
          <a:p>
            <a:pPr marL="285750" indent="-285750">
              <a:buFont typeface="Arial" panose="020B0604020202020204" pitchFamily="34" charset="0"/>
              <a:buChar char="•"/>
            </a:pPr>
            <a:r>
              <a:rPr lang="en-GB" sz="2400" dirty="0"/>
              <a:t>Kinetic modelling and data scale-up</a:t>
            </a:r>
          </a:p>
          <a:p>
            <a:pPr marL="285750" indent="-285750">
              <a:buFont typeface="Arial" panose="020B0604020202020204" pitchFamily="34" charset="0"/>
              <a:buChar char="•"/>
            </a:pPr>
            <a:r>
              <a:rPr lang="en-GB" sz="2400" dirty="0"/>
              <a:t>Recommended assessment strategy</a:t>
            </a:r>
          </a:p>
          <a:p>
            <a:pPr marL="285750" indent="-285750">
              <a:buFont typeface="Arial" panose="020B0604020202020204" pitchFamily="34" charset="0"/>
              <a:buChar char="•"/>
            </a:pPr>
            <a:r>
              <a:rPr lang="en-GB" sz="2400" dirty="0"/>
              <a:t>Conclusions</a:t>
            </a:r>
          </a:p>
        </p:txBody>
      </p:sp>
    </p:spTree>
    <p:custDataLst>
      <p:tags r:id="rId1"/>
    </p:custDataLst>
    <p:extLst>
      <p:ext uri="{BB962C8B-B14F-4D97-AF65-F5344CB8AC3E}">
        <p14:creationId xmlns:p14="http://schemas.microsoft.com/office/powerpoint/2010/main" val="175212298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fade">
                                      <p:cBhvr>
                                        <p:cTn id="28"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Building a Kinetic Model: Model and Validation</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5" name="TextBox 4">
            <a:extLst>
              <a:ext uri="{FF2B5EF4-FFF2-40B4-BE49-F238E27FC236}">
                <a16:creationId xmlns:a16="http://schemas.microsoft.com/office/drawing/2014/main" id="{B6D68780-FCD9-B075-539E-3B205FEC8D96}"/>
              </a:ext>
            </a:extLst>
          </p:cNvPr>
          <p:cNvSpPr txBox="1"/>
          <p:nvPr/>
        </p:nvSpPr>
        <p:spPr>
          <a:xfrm>
            <a:off x="597211" y="1204537"/>
            <a:ext cx="4453252" cy="4278094"/>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GB" sz="2000" dirty="0"/>
              <a:t>Best fit kinetic model for wet cake…</a:t>
            </a:r>
          </a:p>
          <a:p>
            <a:pPr marL="285750" indent="-285750">
              <a:spcAft>
                <a:spcPts val="1200"/>
              </a:spcAft>
              <a:buFont typeface="Arial" panose="020B0604020202020204" pitchFamily="34" charset="0"/>
              <a:buChar char="•"/>
            </a:pPr>
            <a:endParaRPr lang="en-GB" sz="2000" dirty="0"/>
          </a:p>
          <a:p>
            <a:pPr marL="285750" indent="-285750">
              <a:spcAft>
                <a:spcPts val="1200"/>
              </a:spcAft>
              <a:buFont typeface="Arial" panose="020B0604020202020204" pitchFamily="34" charset="0"/>
              <a:buChar char="•"/>
            </a:pPr>
            <a:r>
              <a:rPr lang="en-GB" sz="2000" dirty="0"/>
              <a:t>A → B1 → B2 → B3 → B</a:t>
            </a:r>
          </a:p>
          <a:p>
            <a:pPr lvl="1">
              <a:spcAft>
                <a:spcPts val="1200"/>
              </a:spcAft>
            </a:pPr>
            <a:r>
              <a:rPr lang="en-GB" dirty="0"/>
              <a:t>A → B1 Generalized Autocatalysis</a:t>
            </a:r>
          </a:p>
          <a:p>
            <a:pPr lvl="1">
              <a:spcAft>
                <a:spcPts val="1200"/>
              </a:spcAft>
            </a:pPr>
            <a:r>
              <a:rPr lang="en-GB" dirty="0"/>
              <a:t>B1 → B2 Generalized Autocatalysis</a:t>
            </a:r>
          </a:p>
          <a:p>
            <a:pPr lvl="1">
              <a:spcAft>
                <a:spcPts val="1200"/>
              </a:spcAft>
            </a:pPr>
            <a:r>
              <a:rPr lang="en-GB" dirty="0"/>
              <a:t>B2 → B3 Generalized Autocatalysis</a:t>
            </a:r>
          </a:p>
          <a:p>
            <a:pPr lvl="1">
              <a:spcAft>
                <a:spcPts val="1200"/>
              </a:spcAft>
            </a:pPr>
            <a:r>
              <a:rPr lang="en-GB" dirty="0"/>
              <a:t>B3 → B N-Order</a:t>
            </a:r>
          </a:p>
          <a:p>
            <a:pPr marL="285750" indent="-285750">
              <a:spcAft>
                <a:spcPts val="1200"/>
              </a:spcAft>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Validation confirmed.</a:t>
            </a:r>
          </a:p>
        </p:txBody>
      </p:sp>
      <p:pic>
        <p:nvPicPr>
          <p:cNvPr id="6" name="Picture 5">
            <a:extLst>
              <a:ext uri="{FF2B5EF4-FFF2-40B4-BE49-F238E27FC236}">
                <a16:creationId xmlns:a16="http://schemas.microsoft.com/office/drawing/2014/main" id="{3FAC5499-C66B-FF06-407F-8325B565405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058335" y="1584251"/>
            <a:ext cx="6900310" cy="4199167"/>
          </a:xfrm>
          <a:prstGeom prst="rect">
            <a:avLst/>
          </a:prstGeom>
          <a:noFill/>
          <a:ln>
            <a:noFill/>
          </a:ln>
        </p:spPr>
      </p:pic>
    </p:spTree>
    <p:custDataLst>
      <p:tags r:id="rId1"/>
    </p:custDataLst>
    <p:extLst>
      <p:ext uri="{BB962C8B-B14F-4D97-AF65-F5344CB8AC3E}">
        <p14:creationId xmlns:p14="http://schemas.microsoft.com/office/powerpoint/2010/main" val="285458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What is the “Safe Temperature”?</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5" name="TextBox 4">
            <a:extLst>
              <a:ext uri="{FF2B5EF4-FFF2-40B4-BE49-F238E27FC236}">
                <a16:creationId xmlns:a16="http://schemas.microsoft.com/office/drawing/2014/main" id="{B6D68780-FCD9-B075-539E-3B205FEC8D96}"/>
              </a:ext>
            </a:extLst>
          </p:cNvPr>
          <p:cNvSpPr txBox="1"/>
          <p:nvPr/>
        </p:nvSpPr>
        <p:spPr>
          <a:xfrm>
            <a:off x="682274" y="1144240"/>
            <a:ext cx="10705197" cy="4708981"/>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GB" sz="2000" dirty="0"/>
              <a:t>With a kinetic model and Filter Dryer plant design data, it is possible to model heat generation and heat loss and identify the </a:t>
            </a:r>
            <a:r>
              <a:rPr lang="en-GB" sz="2000" b="1" i="1" dirty="0"/>
              <a:t>CRITICAL TEMPERATURE</a:t>
            </a:r>
            <a:r>
              <a:rPr lang="en-GB" sz="2000" dirty="0"/>
              <a:t>.</a:t>
            </a:r>
          </a:p>
          <a:p>
            <a:pPr marL="742950" lvl="1" indent="-285750">
              <a:spcAft>
                <a:spcPts val="1200"/>
              </a:spcAft>
              <a:buFont typeface="Arial" panose="020B0604020202020204" pitchFamily="34" charset="0"/>
              <a:buChar char="•"/>
            </a:pPr>
            <a:r>
              <a:rPr lang="en-GB" sz="2000" dirty="0"/>
              <a:t>Critical temperature is temperature above which rate of heat generation exceeds the rate of heat loss and runaway reaction occurs (for a specific vessel geometry and fill). </a:t>
            </a:r>
          </a:p>
          <a:p>
            <a:pPr marL="742950" lvl="1" indent="-285750">
              <a:spcAft>
                <a:spcPts val="1200"/>
              </a:spcAft>
              <a:buFont typeface="Arial" panose="020B0604020202020204" pitchFamily="34" charset="0"/>
              <a:buChar char="•"/>
            </a:pPr>
            <a:r>
              <a:rPr lang="en-GB" sz="2000" dirty="0"/>
              <a:t>Frank </a:t>
            </a:r>
            <a:r>
              <a:rPr lang="en-GB" sz="2000" dirty="0" err="1"/>
              <a:t>Kamenetskii</a:t>
            </a:r>
            <a:r>
              <a:rPr lang="en-GB" sz="2000" dirty="0"/>
              <a:t> model applies for solids / Semenov model for liquid systems. Conductive only heat transfer considered for immobile wet cake.</a:t>
            </a:r>
          </a:p>
          <a:p>
            <a:pPr marL="285750" indent="-285750">
              <a:spcAft>
                <a:spcPts val="1200"/>
              </a:spcAft>
              <a:buFont typeface="Arial" panose="020B0604020202020204" pitchFamily="34" charset="0"/>
              <a:buChar char="•"/>
            </a:pPr>
            <a:endParaRPr lang="en-GB" sz="2000" dirty="0"/>
          </a:p>
          <a:p>
            <a:pPr marL="285750" indent="-285750">
              <a:spcAft>
                <a:spcPts val="1200"/>
              </a:spcAft>
              <a:buFont typeface="Arial" panose="020B0604020202020204" pitchFamily="34" charset="0"/>
              <a:buChar char="•"/>
            </a:pPr>
            <a:r>
              <a:rPr lang="en-GB" sz="2000" dirty="0"/>
              <a:t>Critical Temperature for wet cake Compound A was determined to be 80.5°C (30 K below the TD</a:t>
            </a:r>
            <a:r>
              <a:rPr lang="en-GB" sz="2000" baseline="-25000" dirty="0"/>
              <a:t>24</a:t>
            </a:r>
            <a:r>
              <a:rPr lang="en-GB" sz="2000" dirty="0"/>
              <a:t> value and 60 K below the raw measured onset temperature).</a:t>
            </a:r>
          </a:p>
          <a:p>
            <a:pPr marL="285750" indent="-285750">
              <a:spcAft>
                <a:spcPts val="1200"/>
              </a:spcAft>
              <a:buFont typeface="Arial" panose="020B0604020202020204" pitchFamily="34" charset="0"/>
              <a:buChar char="•"/>
            </a:pPr>
            <a:endParaRPr lang="en-GB" sz="2000" dirty="0"/>
          </a:p>
          <a:p>
            <a:pPr marL="285750" indent="-285750">
              <a:spcAft>
                <a:spcPts val="1200"/>
              </a:spcAft>
              <a:buFont typeface="Arial" panose="020B0604020202020204" pitchFamily="34" charset="0"/>
              <a:buChar char="•"/>
            </a:pPr>
            <a:r>
              <a:rPr lang="en-GB" sz="2000" dirty="0"/>
              <a:t>SIL-rated interlock applied to vessel heating medium at 75°C (using 5 K safety margin specified in UN SADT protocols for selecting control and alarm temperatures).</a:t>
            </a:r>
          </a:p>
        </p:txBody>
      </p:sp>
    </p:spTree>
    <p:custDataLst>
      <p:tags r:id="rId1"/>
    </p:custDataLst>
    <p:extLst>
      <p:ext uri="{BB962C8B-B14F-4D97-AF65-F5344CB8AC3E}">
        <p14:creationId xmlns:p14="http://schemas.microsoft.com/office/powerpoint/2010/main" val="421308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xEl>
                                              <p:pRg st="4" end="4"/>
                                            </p:txEl>
                                          </p:spTgt>
                                        </p:tgtEl>
                                        <p:attrNameLst>
                                          <p:attrName>style.visibility</p:attrName>
                                        </p:attrNameLst>
                                      </p:cBhvr>
                                      <p:to>
                                        <p:strVal val="visible"/>
                                      </p:to>
                                    </p:set>
                                    <p:animEffect transition="in" filter="fade">
                                      <p:cBhvr>
                                        <p:cTn id="18" dur="500"/>
                                        <p:tgtEl>
                                          <p:spTgt spid="5">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animEffect transition="in" filter="fade">
                                      <p:cBhvr>
                                        <p:cTn id="23"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Basis of Safety for Self-reactive Substances</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Rectangle 2">
            <a:extLst>
              <a:ext uri="{FF2B5EF4-FFF2-40B4-BE49-F238E27FC236}">
                <a16:creationId xmlns:a16="http://schemas.microsoft.com/office/drawing/2014/main" id="{FED125C6-7ABE-03E8-86BB-C34651B2E3C5}"/>
              </a:ext>
            </a:extLst>
          </p:cNvPr>
          <p:cNvSpPr/>
          <p:nvPr/>
        </p:nvSpPr>
        <p:spPr>
          <a:xfrm>
            <a:off x="1070258" y="2893053"/>
            <a:ext cx="1613810" cy="26636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355C8A12-A3CB-31FD-5146-30EAFD024E66}"/>
              </a:ext>
            </a:extLst>
          </p:cNvPr>
          <p:cNvSpPr/>
          <p:nvPr/>
        </p:nvSpPr>
        <p:spPr>
          <a:xfrm>
            <a:off x="1070259" y="1101348"/>
            <a:ext cx="1613810" cy="6460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Adiabatic calorimetry</a:t>
            </a:r>
          </a:p>
        </p:txBody>
      </p:sp>
      <p:sp>
        <p:nvSpPr>
          <p:cNvPr id="8" name="Rectangle 7">
            <a:extLst>
              <a:ext uri="{FF2B5EF4-FFF2-40B4-BE49-F238E27FC236}">
                <a16:creationId xmlns:a16="http://schemas.microsoft.com/office/drawing/2014/main" id="{3755395B-BBDE-7C04-DA37-43A7AB547D16}"/>
              </a:ext>
            </a:extLst>
          </p:cNvPr>
          <p:cNvSpPr/>
          <p:nvPr/>
        </p:nvSpPr>
        <p:spPr>
          <a:xfrm>
            <a:off x="1070259" y="1975480"/>
            <a:ext cx="1613810" cy="9168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Is protection viable / desirable?</a:t>
            </a:r>
          </a:p>
        </p:txBody>
      </p:sp>
      <p:sp>
        <p:nvSpPr>
          <p:cNvPr id="9" name="Rectangle 8">
            <a:extLst>
              <a:ext uri="{FF2B5EF4-FFF2-40B4-BE49-F238E27FC236}">
                <a16:creationId xmlns:a16="http://schemas.microsoft.com/office/drawing/2014/main" id="{1F8FFEFF-B3E8-B847-9901-ECD728EB6D50}"/>
              </a:ext>
            </a:extLst>
          </p:cNvPr>
          <p:cNvSpPr/>
          <p:nvPr/>
        </p:nvSpPr>
        <p:spPr>
          <a:xfrm>
            <a:off x="1192845" y="3032200"/>
            <a:ext cx="1366564" cy="44726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Containment</a:t>
            </a:r>
          </a:p>
        </p:txBody>
      </p:sp>
      <p:sp>
        <p:nvSpPr>
          <p:cNvPr id="10" name="Rectangle 9">
            <a:extLst>
              <a:ext uri="{FF2B5EF4-FFF2-40B4-BE49-F238E27FC236}">
                <a16:creationId xmlns:a16="http://schemas.microsoft.com/office/drawing/2014/main" id="{88A23D71-56F5-C939-A588-1C574EC9F588}"/>
              </a:ext>
            </a:extLst>
          </p:cNvPr>
          <p:cNvSpPr/>
          <p:nvPr/>
        </p:nvSpPr>
        <p:spPr>
          <a:xfrm>
            <a:off x="1192845" y="3628548"/>
            <a:ext cx="1366564" cy="44726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Venting</a:t>
            </a:r>
          </a:p>
        </p:txBody>
      </p:sp>
      <p:sp>
        <p:nvSpPr>
          <p:cNvPr id="11" name="Rectangle 10">
            <a:extLst>
              <a:ext uri="{FF2B5EF4-FFF2-40B4-BE49-F238E27FC236}">
                <a16:creationId xmlns:a16="http://schemas.microsoft.com/office/drawing/2014/main" id="{DD00D0F8-0E23-181C-9141-1F67C83AF1EF}"/>
              </a:ext>
            </a:extLst>
          </p:cNvPr>
          <p:cNvSpPr/>
          <p:nvPr/>
        </p:nvSpPr>
        <p:spPr>
          <a:xfrm>
            <a:off x="1192844" y="4224896"/>
            <a:ext cx="1366564" cy="44726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Quenching</a:t>
            </a:r>
          </a:p>
        </p:txBody>
      </p:sp>
      <p:sp>
        <p:nvSpPr>
          <p:cNvPr id="12" name="Rectangle 11">
            <a:extLst>
              <a:ext uri="{FF2B5EF4-FFF2-40B4-BE49-F238E27FC236}">
                <a16:creationId xmlns:a16="http://schemas.microsoft.com/office/drawing/2014/main" id="{784DBE13-59CA-7D7C-089C-25675E201D19}"/>
              </a:ext>
            </a:extLst>
          </p:cNvPr>
          <p:cNvSpPr/>
          <p:nvPr/>
        </p:nvSpPr>
        <p:spPr>
          <a:xfrm>
            <a:off x="1192844" y="4801366"/>
            <a:ext cx="1366564" cy="61622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Emergency cooling</a:t>
            </a:r>
          </a:p>
        </p:txBody>
      </p:sp>
      <p:sp>
        <p:nvSpPr>
          <p:cNvPr id="13" name="Rectangle 12">
            <a:extLst>
              <a:ext uri="{FF2B5EF4-FFF2-40B4-BE49-F238E27FC236}">
                <a16:creationId xmlns:a16="http://schemas.microsoft.com/office/drawing/2014/main" id="{0E9C769D-FDBC-FCCD-E0CA-4AF8B61824D9}"/>
              </a:ext>
            </a:extLst>
          </p:cNvPr>
          <p:cNvSpPr/>
          <p:nvPr/>
        </p:nvSpPr>
        <p:spPr>
          <a:xfrm>
            <a:off x="5671141" y="1217622"/>
            <a:ext cx="1697901" cy="5963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Extract kinetic model</a:t>
            </a:r>
          </a:p>
        </p:txBody>
      </p:sp>
      <p:sp>
        <p:nvSpPr>
          <p:cNvPr id="14" name="Rectangle 13">
            <a:extLst>
              <a:ext uri="{FF2B5EF4-FFF2-40B4-BE49-F238E27FC236}">
                <a16:creationId xmlns:a16="http://schemas.microsoft.com/office/drawing/2014/main" id="{DE627F1F-BD77-21DC-A6BD-20A222ECCECE}"/>
              </a:ext>
            </a:extLst>
          </p:cNvPr>
          <p:cNvSpPr/>
          <p:nvPr/>
        </p:nvSpPr>
        <p:spPr>
          <a:xfrm>
            <a:off x="7622643" y="1217622"/>
            <a:ext cx="1606453" cy="5963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nstruct vessel model</a:t>
            </a:r>
          </a:p>
        </p:txBody>
      </p:sp>
      <p:sp>
        <p:nvSpPr>
          <p:cNvPr id="15" name="Rectangle 14">
            <a:extLst>
              <a:ext uri="{FF2B5EF4-FFF2-40B4-BE49-F238E27FC236}">
                <a16:creationId xmlns:a16="http://schemas.microsoft.com/office/drawing/2014/main" id="{EAC46149-3693-4954-852D-E574CF0853C7}"/>
              </a:ext>
            </a:extLst>
          </p:cNvPr>
          <p:cNvSpPr/>
          <p:nvPr/>
        </p:nvSpPr>
        <p:spPr>
          <a:xfrm>
            <a:off x="9492901" y="1056112"/>
            <a:ext cx="1519654" cy="9193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alculate &amp; use Critical Temperature</a:t>
            </a:r>
          </a:p>
        </p:txBody>
      </p:sp>
      <p:cxnSp>
        <p:nvCxnSpPr>
          <p:cNvPr id="17" name="Connector: Elbow 16">
            <a:extLst>
              <a:ext uri="{FF2B5EF4-FFF2-40B4-BE49-F238E27FC236}">
                <a16:creationId xmlns:a16="http://schemas.microsoft.com/office/drawing/2014/main" id="{7D066C3E-6EF6-1659-CA09-FFB48A9F25F8}"/>
              </a:ext>
            </a:extLst>
          </p:cNvPr>
          <p:cNvCxnSpPr>
            <a:cxnSpLocks/>
            <a:stCxn id="8" idx="3"/>
            <a:endCxn id="76" idx="1"/>
          </p:cNvCxnSpPr>
          <p:nvPr/>
        </p:nvCxnSpPr>
        <p:spPr>
          <a:xfrm flipV="1">
            <a:off x="2684069" y="1515797"/>
            <a:ext cx="629035" cy="91809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3BD113CB-12C6-F775-8FA1-83A886ABEF86}"/>
              </a:ext>
            </a:extLst>
          </p:cNvPr>
          <p:cNvCxnSpPr>
            <a:cxnSpLocks/>
            <a:stCxn id="76" idx="0"/>
            <a:endCxn id="13" idx="0"/>
          </p:cNvCxnSpPr>
          <p:nvPr/>
        </p:nvCxnSpPr>
        <p:spPr>
          <a:xfrm rot="16200000" flipH="1">
            <a:off x="5328577" y="26108"/>
            <a:ext cx="24991" cy="2358037"/>
          </a:xfrm>
          <a:prstGeom prst="bentConnector3">
            <a:avLst>
              <a:gd name="adj1" fmla="val -914729"/>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06AD0C1-3A10-4822-ED68-8C94CC9C1EFA}"/>
              </a:ext>
            </a:extLst>
          </p:cNvPr>
          <p:cNvSpPr/>
          <p:nvPr/>
        </p:nvSpPr>
        <p:spPr>
          <a:xfrm>
            <a:off x="9441295" y="4506520"/>
            <a:ext cx="1620349" cy="87961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Protect</a:t>
            </a:r>
            <a:r>
              <a:rPr lang="en-GB" dirty="0">
                <a:solidFill>
                  <a:schemeClr val="bg1"/>
                </a:solidFill>
              </a:rPr>
              <a:t> </a:t>
            </a:r>
          </a:p>
          <a:p>
            <a:pPr algn="ctr"/>
            <a:r>
              <a:rPr lang="en-GB" sz="1400" dirty="0">
                <a:solidFill>
                  <a:schemeClr val="bg1"/>
                </a:solidFill>
              </a:rPr>
              <a:t>(with SIL-rated systems)</a:t>
            </a:r>
          </a:p>
        </p:txBody>
      </p:sp>
      <p:cxnSp>
        <p:nvCxnSpPr>
          <p:cNvPr id="21" name="Connector: Elbow 20">
            <a:extLst>
              <a:ext uri="{FF2B5EF4-FFF2-40B4-BE49-F238E27FC236}">
                <a16:creationId xmlns:a16="http://schemas.microsoft.com/office/drawing/2014/main" id="{5E3E622E-2036-841B-28A3-50EE071AAE9C}"/>
              </a:ext>
            </a:extLst>
          </p:cNvPr>
          <p:cNvCxnSpPr>
            <a:cxnSpLocks/>
            <a:stCxn id="8" idx="3"/>
            <a:endCxn id="85" idx="1"/>
          </p:cNvCxnSpPr>
          <p:nvPr/>
        </p:nvCxnSpPr>
        <p:spPr>
          <a:xfrm>
            <a:off x="2684069" y="2433887"/>
            <a:ext cx="4083523" cy="2512441"/>
          </a:xfrm>
          <a:prstGeom prst="bentConnector3">
            <a:avLst>
              <a:gd name="adj1" fmla="val 7649"/>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576B590-3BA0-CBF3-550C-647C9F882EB7}"/>
              </a:ext>
            </a:extLst>
          </p:cNvPr>
          <p:cNvSpPr txBox="1"/>
          <p:nvPr/>
        </p:nvSpPr>
        <p:spPr>
          <a:xfrm>
            <a:off x="5075465" y="904333"/>
            <a:ext cx="485518" cy="369332"/>
          </a:xfrm>
          <a:prstGeom prst="rect">
            <a:avLst/>
          </a:prstGeom>
          <a:noFill/>
        </p:spPr>
        <p:txBody>
          <a:bodyPr wrap="none" rtlCol="0">
            <a:spAutoFit/>
          </a:bodyPr>
          <a:lstStyle/>
          <a:p>
            <a:r>
              <a:rPr lang="en-GB" dirty="0"/>
              <a:t>Yes</a:t>
            </a:r>
          </a:p>
        </p:txBody>
      </p:sp>
      <p:sp>
        <p:nvSpPr>
          <p:cNvPr id="27" name="TextBox 26">
            <a:extLst>
              <a:ext uri="{FF2B5EF4-FFF2-40B4-BE49-F238E27FC236}">
                <a16:creationId xmlns:a16="http://schemas.microsoft.com/office/drawing/2014/main" id="{53588D25-2CC4-EB8F-BC5D-7A361F11E847}"/>
              </a:ext>
            </a:extLst>
          </p:cNvPr>
          <p:cNvSpPr txBox="1"/>
          <p:nvPr/>
        </p:nvSpPr>
        <p:spPr>
          <a:xfrm>
            <a:off x="2953699" y="1860102"/>
            <a:ext cx="479618" cy="369332"/>
          </a:xfrm>
          <a:prstGeom prst="rect">
            <a:avLst/>
          </a:prstGeom>
          <a:noFill/>
        </p:spPr>
        <p:txBody>
          <a:bodyPr wrap="none" rtlCol="0">
            <a:spAutoFit/>
          </a:bodyPr>
          <a:lstStyle/>
          <a:p>
            <a:r>
              <a:rPr lang="en-GB" dirty="0"/>
              <a:t>No</a:t>
            </a:r>
          </a:p>
        </p:txBody>
      </p:sp>
      <p:sp>
        <p:nvSpPr>
          <p:cNvPr id="28" name="Rectangle 27">
            <a:extLst>
              <a:ext uri="{FF2B5EF4-FFF2-40B4-BE49-F238E27FC236}">
                <a16:creationId xmlns:a16="http://schemas.microsoft.com/office/drawing/2014/main" id="{37A7D49A-A7E2-C3EA-618C-6ADFF98F47BC}"/>
              </a:ext>
            </a:extLst>
          </p:cNvPr>
          <p:cNvSpPr/>
          <p:nvPr/>
        </p:nvSpPr>
        <p:spPr>
          <a:xfrm>
            <a:off x="6794261" y="2334473"/>
            <a:ext cx="1712005" cy="12208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Use TD</a:t>
            </a:r>
            <a:r>
              <a:rPr lang="en-GB" baseline="-25000" dirty="0">
                <a:solidFill>
                  <a:schemeClr val="tx1"/>
                </a:solidFill>
              </a:rPr>
              <a:t>24</a:t>
            </a:r>
            <a:r>
              <a:rPr lang="en-GB" b="1" baseline="-25000" dirty="0">
                <a:solidFill>
                  <a:schemeClr val="tx1"/>
                </a:solidFill>
              </a:rPr>
              <a:t>**</a:t>
            </a:r>
            <a:r>
              <a:rPr lang="en-GB" dirty="0">
                <a:solidFill>
                  <a:schemeClr val="tx1"/>
                </a:solidFill>
              </a:rPr>
              <a:t> as safe handling temperature</a:t>
            </a:r>
          </a:p>
          <a:p>
            <a:pPr algn="ctr"/>
            <a:r>
              <a:rPr lang="en-GB" sz="1200" dirty="0">
                <a:solidFill>
                  <a:schemeClr val="tx1"/>
                </a:solidFill>
              </a:rPr>
              <a:t>(conservative)</a:t>
            </a:r>
            <a:endParaRPr lang="en-GB" dirty="0">
              <a:solidFill>
                <a:schemeClr val="tx1"/>
              </a:solidFill>
            </a:endParaRPr>
          </a:p>
        </p:txBody>
      </p:sp>
      <p:cxnSp>
        <p:nvCxnSpPr>
          <p:cNvPr id="29" name="Connector: Elbow 28">
            <a:extLst>
              <a:ext uri="{FF2B5EF4-FFF2-40B4-BE49-F238E27FC236}">
                <a16:creationId xmlns:a16="http://schemas.microsoft.com/office/drawing/2014/main" id="{275776E0-D80D-E9E1-DDF0-44CDC7842DCB}"/>
              </a:ext>
            </a:extLst>
          </p:cNvPr>
          <p:cNvCxnSpPr>
            <a:cxnSpLocks/>
            <a:stCxn id="28" idx="3"/>
            <a:endCxn id="30" idx="1"/>
          </p:cNvCxnSpPr>
          <p:nvPr/>
        </p:nvCxnSpPr>
        <p:spPr>
          <a:xfrm flipV="1">
            <a:off x="8506266" y="2944884"/>
            <a:ext cx="751689"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5D5EE1E8-B985-C22A-7206-E9E7448BBA9A}"/>
              </a:ext>
            </a:extLst>
          </p:cNvPr>
          <p:cNvSpPr/>
          <p:nvPr/>
        </p:nvSpPr>
        <p:spPr>
          <a:xfrm>
            <a:off x="9257955" y="2505076"/>
            <a:ext cx="1987031" cy="87961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Prevent</a:t>
            </a:r>
            <a:r>
              <a:rPr lang="en-GB" dirty="0">
                <a:solidFill>
                  <a:schemeClr val="bg1"/>
                </a:solidFill>
              </a:rPr>
              <a:t> </a:t>
            </a:r>
          </a:p>
          <a:p>
            <a:pPr algn="ctr"/>
            <a:r>
              <a:rPr lang="en-GB" sz="1400" dirty="0">
                <a:solidFill>
                  <a:schemeClr val="bg1"/>
                </a:solidFill>
              </a:rPr>
              <a:t>(with SIL-rated systems)</a:t>
            </a:r>
            <a:endParaRPr lang="en-GB" dirty="0">
              <a:solidFill>
                <a:schemeClr val="bg1"/>
              </a:solidFill>
            </a:endParaRPr>
          </a:p>
        </p:txBody>
      </p:sp>
      <p:cxnSp>
        <p:nvCxnSpPr>
          <p:cNvPr id="31" name="Connector: Elbow 30">
            <a:extLst>
              <a:ext uri="{FF2B5EF4-FFF2-40B4-BE49-F238E27FC236}">
                <a16:creationId xmlns:a16="http://schemas.microsoft.com/office/drawing/2014/main" id="{F54C8C69-5158-DE96-59B1-712ABB98381B}"/>
              </a:ext>
            </a:extLst>
          </p:cNvPr>
          <p:cNvCxnSpPr>
            <a:cxnSpLocks/>
            <a:stCxn id="15" idx="2"/>
            <a:endCxn id="30" idx="0"/>
          </p:cNvCxnSpPr>
          <p:nvPr/>
        </p:nvCxnSpPr>
        <p:spPr>
          <a:xfrm rot="5400000">
            <a:off x="9987302" y="2239650"/>
            <a:ext cx="529596" cy="12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BB443FB6-3874-7EA3-5CCE-C7140A774822}"/>
              </a:ext>
            </a:extLst>
          </p:cNvPr>
          <p:cNvSpPr txBox="1"/>
          <p:nvPr/>
        </p:nvSpPr>
        <p:spPr>
          <a:xfrm>
            <a:off x="2182617" y="5845886"/>
            <a:ext cx="7738016" cy="584775"/>
          </a:xfrm>
          <a:prstGeom prst="rect">
            <a:avLst/>
          </a:prstGeom>
          <a:noFill/>
        </p:spPr>
        <p:txBody>
          <a:bodyPr wrap="none" rtlCol="0">
            <a:spAutoFit/>
          </a:bodyPr>
          <a:lstStyle/>
          <a:p>
            <a:pPr algn="ctr"/>
            <a:r>
              <a:rPr lang="en-GB" sz="1600" i="1" dirty="0"/>
              <a:t>* Plot rate curve ln(dT/dt) v 1/Temperature – straight line = not autocatalytic</a:t>
            </a:r>
          </a:p>
          <a:p>
            <a:pPr algn="ctr"/>
            <a:r>
              <a:rPr lang="en-GB" sz="1600" i="1" dirty="0"/>
              <a:t>** Confirm 24 h is worst case exposure duration. Use longer duration if appropriate.</a:t>
            </a:r>
          </a:p>
        </p:txBody>
      </p:sp>
      <p:sp>
        <p:nvSpPr>
          <p:cNvPr id="76" name="TextBox 75">
            <a:extLst>
              <a:ext uri="{FF2B5EF4-FFF2-40B4-BE49-F238E27FC236}">
                <a16:creationId xmlns:a16="http://schemas.microsoft.com/office/drawing/2014/main" id="{C2A0DA80-9AA5-9E60-5A65-6499AA5062D3}"/>
              </a:ext>
            </a:extLst>
          </p:cNvPr>
          <p:cNvSpPr txBox="1"/>
          <p:nvPr/>
        </p:nvSpPr>
        <p:spPr>
          <a:xfrm>
            <a:off x="3313104" y="1192631"/>
            <a:ext cx="1697901" cy="6463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solidFill>
                  <a:schemeClr val="tx1"/>
                </a:solidFill>
              </a:rPr>
              <a:t>Is the reaction </a:t>
            </a:r>
          </a:p>
          <a:p>
            <a:r>
              <a:rPr lang="en-GB" dirty="0">
                <a:solidFill>
                  <a:schemeClr val="tx1"/>
                </a:solidFill>
              </a:rPr>
              <a:t>autocatalytic?*</a:t>
            </a:r>
          </a:p>
        </p:txBody>
      </p:sp>
      <p:sp>
        <p:nvSpPr>
          <p:cNvPr id="85" name="Rectangle 84">
            <a:extLst>
              <a:ext uri="{FF2B5EF4-FFF2-40B4-BE49-F238E27FC236}">
                <a16:creationId xmlns:a16="http://schemas.microsoft.com/office/drawing/2014/main" id="{A7FB7710-C5A8-50AB-CC0A-FC8AC41D5308}"/>
              </a:ext>
            </a:extLst>
          </p:cNvPr>
          <p:cNvSpPr/>
          <p:nvPr/>
        </p:nvSpPr>
        <p:spPr>
          <a:xfrm>
            <a:off x="6767592" y="4335916"/>
            <a:ext cx="1712005" cy="12208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Use TD</a:t>
            </a:r>
            <a:r>
              <a:rPr lang="en-GB" baseline="-25000" dirty="0">
                <a:solidFill>
                  <a:schemeClr val="tx1"/>
                </a:solidFill>
              </a:rPr>
              <a:t>24</a:t>
            </a:r>
            <a:r>
              <a:rPr lang="en-GB" b="1" baseline="-25000" dirty="0">
                <a:solidFill>
                  <a:schemeClr val="tx1"/>
                </a:solidFill>
              </a:rPr>
              <a:t>**</a:t>
            </a:r>
            <a:r>
              <a:rPr lang="en-GB" dirty="0">
                <a:solidFill>
                  <a:schemeClr val="tx1"/>
                </a:solidFill>
              </a:rPr>
              <a:t> as safe handling temperature</a:t>
            </a:r>
          </a:p>
          <a:p>
            <a:pPr algn="ctr"/>
            <a:r>
              <a:rPr lang="en-GB" sz="1200" dirty="0">
                <a:solidFill>
                  <a:schemeClr val="tx1"/>
                </a:solidFill>
              </a:rPr>
              <a:t>(non-conservative)</a:t>
            </a:r>
            <a:endParaRPr lang="en-GB" dirty="0">
              <a:solidFill>
                <a:schemeClr val="tx1"/>
              </a:solidFill>
            </a:endParaRPr>
          </a:p>
        </p:txBody>
      </p:sp>
      <p:sp>
        <p:nvSpPr>
          <p:cNvPr id="86" name="TextBox 85">
            <a:extLst>
              <a:ext uri="{FF2B5EF4-FFF2-40B4-BE49-F238E27FC236}">
                <a16:creationId xmlns:a16="http://schemas.microsoft.com/office/drawing/2014/main" id="{55193D8E-26A9-1B08-E0DD-E9F5365F8F26}"/>
              </a:ext>
            </a:extLst>
          </p:cNvPr>
          <p:cNvSpPr txBox="1"/>
          <p:nvPr/>
        </p:nvSpPr>
        <p:spPr>
          <a:xfrm>
            <a:off x="2949596" y="2679633"/>
            <a:ext cx="561051" cy="369332"/>
          </a:xfrm>
          <a:prstGeom prst="rect">
            <a:avLst/>
          </a:prstGeom>
          <a:noFill/>
        </p:spPr>
        <p:txBody>
          <a:bodyPr wrap="none" rtlCol="0">
            <a:spAutoFit/>
          </a:bodyPr>
          <a:lstStyle/>
          <a:p>
            <a:r>
              <a:rPr lang="en-GB" dirty="0"/>
              <a:t>Yes</a:t>
            </a:r>
          </a:p>
        </p:txBody>
      </p:sp>
      <p:sp>
        <p:nvSpPr>
          <p:cNvPr id="90" name="TextBox 89">
            <a:extLst>
              <a:ext uri="{FF2B5EF4-FFF2-40B4-BE49-F238E27FC236}">
                <a16:creationId xmlns:a16="http://schemas.microsoft.com/office/drawing/2014/main" id="{6CB95891-C464-CF38-2D97-10CF4A2459D7}"/>
              </a:ext>
            </a:extLst>
          </p:cNvPr>
          <p:cNvSpPr txBox="1"/>
          <p:nvPr/>
        </p:nvSpPr>
        <p:spPr>
          <a:xfrm>
            <a:off x="4981718" y="2074224"/>
            <a:ext cx="479618" cy="369332"/>
          </a:xfrm>
          <a:prstGeom prst="rect">
            <a:avLst/>
          </a:prstGeom>
          <a:noFill/>
        </p:spPr>
        <p:txBody>
          <a:bodyPr wrap="none" rtlCol="0">
            <a:spAutoFit/>
          </a:bodyPr>
          <a:lstStyle/>
          <a:p>
            <a:r>
              <a:rPr lang="en-GB" dirty="0"/>
              <a:t>No</a:t>
            </a:r>
          </a:p>
        </p:txBody>
      </p:sp>
      <p:cxnSp>
        <p:nvCxnSpPr>
          <p:cNvPr id="132" name="Connector: Elbow 131">
            <a:extLst>
              <a:ext uri="{FF2B5EF4-FFF2-40B4-BE49-F238E27FC236}">
                <a16:creationId xmlns:a16="http://schemas.microsoft.com/office/drawing/2014/main" id="{B08924BB-30BE-79D4-BFDF-88554CDC6891}"/>
              </a:ext>
            </a:extLst>
          </p:cNvPr>
          <p:cNvCxnSpPr>
            <a:cxnSpLocks/>
            <a:stCxn id="76" idx="3"/>
            <a:endCxn id="28" idx="1"/>
          </p:cNvCxnSpPr>
          <p:nvPr/>
        </p:nvCxnSpPr>
        <p:spPr>
          <a:xfrm>
            <a:off x="5011005" y="1515797"/>
            <a:ext cx="1783256" cy="1429088"/>
          </a:xfrm>
          <a:prstGeom prst="bentConnector3">
            <a:avLst>
              <a:gd name="adj1" fmla="val 2268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E123D572-2716-212B-EB6C-5B1D1AD75309}"/>
              </a:ext>
            </a:extLst>
          </p:cNvPr>
          <p:cNvCxnSpPr>
            <a:stCxn id="85" idx="3"/>
            <a:endCxn id="20" idx="1"/>
          </p:cNvCxnSpPr>
          <p:nvPr/>
        </p:nvCxnSpPr>
        <p:spPr>
          <a:xfrm>
            <a:off x="8479597" y="4946328"/>
            <a:ext cx="9616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9AA6538F-2341-F7E1-E1AB-60B89F64F9D3}"/>
              </a:ext>
            </a:extLst>
          </p:cNvPr>
          <p:cNvCxnSpPr>
            <a:stCxn id="13" idx="3"/>
            <a:endCxn id="14" idx="1"/>
          </p:cNvCxnSpPr>
          <p:nvPr/>
        </p:nvCxnSpPr>
        <p:spPr>
          <a:xfrm>
            <a:off x="7369042" y="1515796"/>
            <a:ext cx="25360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E814B5ED-48CE-5AA7-B90E-1A466FBBB92C}"/>
              </a:ext>
            </a:extLst>
          </p:cNvPr>
          <p:cNvCxnSpPr>
            <a:stCxn id="14" idx="3"/>
            <a:endCxn id="15" idx="1"/>
          </p:cNvCxnSpPr>
          <p:nvPr/>
        </p:nvCxnSpPr>
        <p:spPr>
          <a:xfrm>
            <a:off x="9229096" y="1515796"/>
            <a:ext cx="26380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a16="http://schemas.microsoft.com/office/drawing/2014/main" id="{5B8A55DC-74CE-D0A3-78B0-70D6C9CD04F5}"/>
              </a:ext>
            </a:extLst>
          </p:cNvPr>
          <p:cNvCxnSpPr>
            <a:cxnSpLocks/>
            <a:stCxn id="6" idx="2"/>
            <a:endCxn id="8" idx="0"/>
          </p:cNvCxnSpPr>
          <p:nvPr/>
        </p:nvCxnSpPr>
        <p:spPr>
          <a:xfrm>
            <a:off x="1877164" y="1747392"/>
            <a:ext cx="0" cy="2280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A07500F-5BF0-7ABE-983A-DA4E18AF51E3}"/>
              </a:ext>
            </a:extLst>
          </p:cNvPr>
          <p:cNvSpPr/>
          <p:nvPr/>
        </p:nvSpPr>
        <p:spPr>
          <a:xfrm>
            <a:off x="3313104" y="3395084"/>
            <a:ext cx="1995181" cy="879615"/>
          </a:xfrm>
          <a:prstGeom prst="rect">
            <a:avLst/>
          </a:prstGeom>
          <a:pattFill prst="pct90">
            <a:fgClr>
              <a:schemeClr val="accent2"/>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Protect</a:t>
            </a:r>
            <a:r>
              <a:rPr lang="en-GB" dirty="0">
                <a:solidFill>
                  <a:schemeClr val="bg1"/>
                </a:solidFill>
              </a:rPr>
              <a:t> </a:t>
            </a:r>
          </a:p>
          <a:p>
            <a:pPr algn="ctr"/>
            <a:r>
              <a:rPr lang="en-GB" sz="1400" dirty="0">
                <a:solidFill>
                  <a:schemeClr val="bg1"/>
                </a:solidFill>
              </a:rPr>
              <a:t>(without SIL-rated systems)</a:t>
            </a:r>
          </a:p>
        </p:txBody>
      </p:sp>
      <p:cxnSp>
        <p:nvCxnSpPr>
          <p:cNvPr id="64" name="Connector: Elbow 63">
            <a:extLst>
              <a:ext uri="{FF2B5EF4-FFF2-40B4-BE49-F238E27FC236}">
                <a16:creationId xmlns:a16="http://schemas.microsoft.com/office/drawing/2014/main" id="{91AC63B9-C968-1264-F8FA-FC35392729A5}"/>
              </a:ext>
            </a:extLst>
          </p:cNvPr>
          <p:cNvCxnSpPr>
            <a:cxnSpLocks/>
            <a:stCxn id="8" idx="3"/>
            <a:endCxn id="24" idx="1"/>
          </p:cNvCxnSpPr>
          <p:nvPr/>
        </p:nvCxnSpPr>
        <p:spPr>
          <a:xfrm>
            <a:off x="2684069" y="2433887"/>
            <a:ext cx="629035" cy="140100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20A1318E-C4C4-F7D1-2051-B60984DCAB72}"/>
              </a:ext>
            </a:extLst>
          </p:cNvPr>
          <p:cNvCxnSpPr>
            <a:stCxn id="24" idx="0"/>
            <a:endCxn id="76" idx="2"/>
          </p:cNvCxnSpPr>
          <p:nvPr/>
        </p:nvCxnSpPr>
        <p:spPr>
          <a:xfrm rot="16200000" flipV="1">
            <a:off x="3458314" y="2542703"/>
            <a:ext cx="1556122" cy="14864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13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500"/>
                                        <p:tgtEl>
                                          <p:spTgt spid="8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fade">
                                      <p:cBhvr>
                                        <p:cTn id="13" dur="500"/>
                                        <p:tgtEl>
                                          <p:spTgt spid="8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150"/>
                                        </p:tgtEl>
                                        <p:attrNameLst>
                                          <p:attrName>style.visibility</p:attrName>
                                        </p:attrNameLst>
                                      </p:cBhvr>
                                      <p:to>
                                        <p:strVal val="visible"/>
                                      </p:to>
                                    </p:set>
                                    <p:animEffect transition="in" filter="fade">
                                      <p:cBhvr>
                                        <p:cTn id="19" dur="500"/>
                                        <p:tgtEl>
                                          <p:spTgt spid="15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6"/>
                                        </p:tgtEl>
                                        <p:attrNameLst>
                                          <p:attrName>style.visibility</p:attrName>
                                        </p:attrNameLst>
                                      </p:cBhvr>
                                      <p:to>
                                        <p:strVal val="visible"/>
                                      </p:to>
                                    </p:set>
                                    <p:animEffect transition="in" filter="fade">
                                      <p:cBhvr>
                                        <p:cTn id="30" dur="500"/>
                                        <p:tgtEl>
                                          <p:spTgt spid="7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0"/>
                                        </p:tgtEl>
                                        <p:attrNameLst>
                                          <p:attrName>style.visibility</p:attrName>
                                        </p:attrNameLst>
                                      </p:cBhvr>
                                      <p:to>
                                        <p:strVal val="visible"/>
                                      </p:to>
                                    </p:set>
                                    <p:animEffect transition="in" filter="fade">
                                      <p:cBhvr>
                                        <p:cTn id="33" dur="500"/>
                                        <p:tgtEl>
                                          <p:spTgt spid="90"/>
                                        </p:tgtEl>
                                      </p:cBhvr>
                                    </p:animEffect>
                                  </p:childTnLst>
                                </p:cTn>
                              </p:par>
                              <p:par>
                                <p:cTn id="34" presetID="10" presetClass="entr" presetSubtype="0" fill="hold" nodeType="withEffect">
                                  <p:stCondLst>
                                    <p:cond delay="0"/>
                                  </p:stCondLst>
                                  <p:childTnLst>
                                    <p:set>
                                      <p:cBhvr>
                                        <p:cTn id="35" dur="1" fill="hold">
                                          <p:stCondLst>
                                            <p:cond delay="0"/>
                                          </p:stCondLst>
                                        </p:cTn>
                                        <p:tgtEl>
                                          <p:spTgt spid="132"/>
                                        </p:tgtEl>
                                        <p:attrNameLst>
                                          <p:attrName>style.visibility</p:attrName>
                                        </p:attrNameLst>
                                      </p:cBhvr>
                                      <p:to>
                                        <p:strVal val="visible"/>
                                      </p:to>
                                    </p:set>
                                    <p:animEffect transition="in" filter="fade">
                                      <p:cBhvr>
                                        <p:cTn id="36" dur="500"/>
                                        <p:tgtEl>
                                          <p:spTgt spid="1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fade">
                                      <p:cBhvr>
                                        <p:cTn id="45" dur="500"/>
                                        <p:tgtEl>
                                          <p:spTgt spid="3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500"/>
                                        <p:tgtEl>
                                          <p:spTgt spid="13"/>
                                        </p:tgtEl>
                                      </p:cBhvr>
                                    </p:animEffect>
                                  </p:childTnLst>
                                </p:cTn>
                              </p:par>
                              <p:par>
                                <p:cTn id="57" presetID="10" presetClass="entr" presetSubtype="0" fill="hold" nodeType="withEffect">
                                  <p:stCondLst>
                                    <p:cond delay="0"/>
                                  </p:stCondLst>
                                  <p:childTnLst>
                                    <p:set>
                                      <p:cBhvr>
                                        <p:cTn id="58" dur="1" fill="hold">
                                          <p:stCondLst>
                                            <p:cond delay="0"/>
                                          </p:stCondLst>
                                        </p:cTn>
                                        <p:tgtEl>
                                          <p:spTgt spid="152"/>
                                        </p:tgtEl>
                                        <p:attrNameLst>
                                          <p:attrName>style.visibility</p:attrName>
                                        </p:attrNameLst>
                                      </p:cBhvr>
                                      <p:to>
                                        <p:strVal val="visible"/>
                                      </p:to>
                                    </p:set>
                                    <p:animEffect transition="in" filter="fade">
                                      <p:cBhvr>
                                        <p:cTn id="59" dur="500"/>
                                        <p:tgtEl>
                                          <p:spTgt spid="15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par>
                                <p:cTn id="63" presetID="10" presetClass="entr" presetSubtype="0" fill="hold" nodeType="withEffect">
                                  <p:stCondLst>
                                    <p:cond delay="0"/>
                                  </p:stCondLst>
                                  <p:childTnLst>
                                    <p:set>
                                      <p:cBhvr>
                                        <p:cTn id="64" dur="1" fill="hold">
                                          <p:stCondLst>
                                            <p:cond delay="0"/>
                                          </p:stCondLst>
                                        </p:cTn>
                                        <p:tgtEl>
                                          <p:spTgt spid="154"/>
                                        </p:tgtEl>
                                        <p:attrNameLst>
                                          <p:attrName>style.visibility</p:attrName>
                                        </p:attrNameLst>
                                      </p:cBhvr>
                                      <p:to>
                                        <p:strVal val="visible"/>
                                      </p:to>
                                    </p:set>
                                    <p:animEffect transition="in" filter="fade">
                                      <p:cBhvr>
                                        <p:cTn id="65" dur="500"/>
                                        <p:tgtEl>
                                          <p:spTgt spid="15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
                                        </p:tgtEl>
                                        <p:attrNameLst>
                                          <p:attrName>style.visibility</p:attrName>
                                        </p:attrNameLst>
                                      </p:cBhvr>
                                      <p:to>
                                        <p:strVal val="visible"/>
                                      </p:to>
                                    </p:set>
                                    <p:animEffect transition="in" filter="fade">
                                      <p:cBhvr>
                                        <p:cTn id="68" dur="500"/>
                                        <p:tgtEl>
                                          <p:spTgt spid="15"/>
                                        </p:tgtEl>
                                      </p:cBhvr>
                                    </p:animEffect>
                                  </p:childTnLst>
                                </p:cTn>
                              </p:par>
                              <p:par>
                                <p:cTn id="69" presetID="10" presetClass="entr" presetSubtype="0" fill="hold" nodeType="withEffect">
                                  <p:stCondLst>
                                    <p:cond delay="0"/>
                                  </p:stCondLst>
                                  <p:childTnLst>
                                    <p:set>
                                      <p:cBhvr>
                                        <p:cTn id="70" dur="1" fill="hold">
                                          <p:stCondLst>
                                            <p:cond delay="0"/>
                                          </p:stCondLst>
                                        </p:cTn>
                                        <p:tgtEl>
                                          <p:spTgt spid="31"/>
                                        </p:tgtEl>
                                        <p:attrNameLst>
                                          <p:attrName>style.visibility</p:attrName>
                                        </p:attrNameLst>
                                      </p:cBhvr>
                                      <p:to>
                                        <p:strVal val="visible"/>
                                      </p:to>
                                    </p:set>
                                    <p:animEffect transition="in" filter="fade">
                                      <p:cBhvr>
                                        <p:cTn id="71" dur="500"/>
                                        <p:tgtEl>
                                          <p:spTgt spid="31"/>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64"/>
                                        </p:tgtEl>
                                        <p:attrNameLst>
                                          <p:attrName>style.visibility</p:attrName>
                                        </p:attrNameLst>
                                      </p:cBhvr>
                                      <p:to>
                                        <p:strVal val="visible"/>
                                      </p:to>
                                    </p:set>
                                    <p:animEffect transition="in" filter="fade">
                                      <p:cBhvr>
                                        <p:cTn id="76" dur="500"/>
                                        <p:tgtEl>
                                          <p:spTgt spid="6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500"/>
                                        <p:tgtEl>
                                          <p:spTgt spid="24"/>
                                        </p:tgtEl>
                                      </p:cBhvr>
                                    </p:animEffect>
                                  </p:childTnLst>
                                </p:cTn>
                              </p:par>
                              <p:par>
                                <p:cTn id="80" presetID="10" presetClass="entr" presetSubtype="0" fill="hold" nodeType="with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fade">
                                      <p:cBhvr>
                                        <p:cTn id="8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20" grpId="0" animBg="1"/>
      <p:bldP spid="26" grpId="0"/>
      <p:bldP spid="27" grpId="0"/>
      <p:bldP spid="28" grpId="0" animBg="1"/>
      <p:bldP spid="30" grpId="0" animBg="1"/>
      <p:bldP spid="76" grpId="0" animBg="1"/>
      <p:bldP spid="85" grpId="0" animBg="1"/>
      <p:bldP spid="86" grpId="0"/>
      <p:bldP spid="90" grpId="0"/>
      <p:bldP spid="2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Key Learning Points</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5" name="TextBox 4">
            <a:extLst>
              <a:ext uri="{FF2B5EF4-FFF2-40B4-BE49-F238E27FC236}">
                <a16:creationId xmlns:a16="http://schemas.microsoft.com/office/drawing/2014/main" id="{B6D68780-FCD9-B075-539E-3B205FEC8D96}"/>
              </a:ext>
            </a:extLst>
          </p:cNvPr>
          <p:cNvSpPr txBox="1"/>
          <p:nvPr/>
        </p:nvSpPr>
        <p:spPr>
          <a:xfrm>
            <a:off x="682275" y="1073899"/>
            <a:ext cx="10698030" cy="4893647"/>
          </a:xfrm>
          <a:prstGeom prst="rect">
            <a:avLst/>
          </a:prstGeom>
          <a:noFill/>
        </p:spPr>
        <p:txBody>
          <a:bodyPr wrap="square" rtlCol="0">
            <a:spAutoFit/>
          </a:bodyPr>
          <a:lstStyle/>
          <a:p>
            <a:pPr marL="285750" indent="-285750">
              <a:buFont typeface="Arial" panose="020B0604020202020204" pitchFamily="34" charset="0"/>
              <a:buChar char="•"/>
            </a:pPr>
            <a:r>
              <a:rPr lang="en-GB" sz="2000" dirty="0"/>
              <a:t>Do not focus on pure substances alone, consider potential destabilising effect of solvents / impurities and specify safe temperature limits based on the most demanding.</a:t>
            </a:r>
          </a:p>
          <a:p>
            <a:pPr marL="742950" lvl="1" indent="-285750">
              <a:spcAft>
                <a:spcPts val="1200"/>
              </a:spcAft>
              <a:buFont typeface="Arial" panose="020B0604020202020204" pitchFamily="34" charset="0"/>
              <a:buChar char="•"/>
            </a:pPr>
            <a:r>
              <a:rPr lang="en-GB" sz="1600" dirty="0"/>
              <a:t>The default assumption may be that the pure substance will be most energetic and concentrated and hence will exhibit the lowest onset temperature. This study suggests that this is often not true.</a:t>
            </a:r>
          </a:p>
          <a:p>
            <a:pPr marL="285750" indent="-285750">
              <a:spcAft>
                <a:spcPts val="1200"/>
              </a:spcAft>
              <a:buFont typeface="Arial" panose="020B0604020202020204" pitchFamily="34" charset="0"/>
              <a:buChar char="•"/>
            </a:pPr>
            <a:r>
              <a:rPr lang="en-GB" sz="2000" dirty="0"/>
              <a:t>Conventional rules of thumb and use of TD</a:t>
            </a:r>
            <a:r>
              <a:rPr lang="en-GB" sz="2000" baseline="-25000" dirty="0"/>
              <a:t>24</a:t>
            </a:r>
            <a:r>
              <a:rPr lang="en-GB" sz="2000" dirty="0"/>
              <a:t> extrapolated values may provide non-conservative, overstated safe handling temperatures</a:t>
            </a:r>
            <a:r>
              <a:rPr lang="en-GB" sz="1600" dirty="0"/>
              <a:t> </a:t>
            </a:r>
            <a:r>
              <a:rPr lang="en-GB" sz="2000" dirty="0"/>
              <a:t>for solid and / or autocatalytic substances.</a:t>
            </a:r>
          </a:p>
          <a:p>
            <a:pPr marL="285750" indent="-285750">
              <a:spcAft>
                <a:spcPts val="1200"/>
              </a:spcAft>
              <a:buFont typeface="Arial" panose="020B0604020202020204" pitchFamily="34" charset="0"/>
              <a:buChar char="•"/>
            </a:pPr>
            <a:r>
              <a:rPr lang="en-GB" sz="2000" dirty="0"/>
              <a:t>If a material can propagate a hot spot (UN Class 4.1) then maximum temperature limits must be respected (identified, monitored and controlled) in all production areas.</a:t>
            </a:r>
          </a:p>
          <a:p>
            <a:pPr marL="285750" indent="-285750">
              <a:spcAft>
                <a:spcPts val="1200"/>
              </a:spcAft>
              <a:buFont typeface="Arial" panose="020B0604020202020204" pitchFamily="34" charset="0"/>
              <a:buChar char="•"/>
            </a:pPr>
            <a:r>
              <a:rPr lang="en-GB" sz="2000" dirty="0"/>
              <a:t>For very energetic solid substances, extraction of kinetic parameters enables development of a rigorous kinetic model which can be combined with vessel geometry information to enable </a:t>
            </a:r>
            <a:r>
              <a:rPr lang="en-GB" sz="2000" b="1" i="1" dirty="0"/>
              <a:t>critical temperature </a:t>
            </a:r>
            <a:r>
              <a:rPr lang="en-GB" sz="2000" dirty="0"/>
              <a:t>to be established. </a:t>
            </a:r>
          </a:p>
          <a:p>
            <a:pPr marL="285750" indent="-285750">
              <a:spcAft>
                <a:spcPts val="1200"/>
              </a:spcAft>
              <a:buFont typeface="Arial" panose="020B0604020202020204" pitchFamily="34" charset="0"/>
              <a:buChar char="•"/>
            </a:pPr>
            <a:r>
              <a:rPr lang="en-GB" sz="2000" dirty="0"/>
              <a:t>Prevention of violent decomposition initiation by temperature control requires all thermal scenarios to be identified and avoided by the use of high integrity systems (SIL rated).</a:t>
            </a:r>
          </a:p>
        </p:txBody>
      </p:sp>
    </p:spTree>
    <p:custDataLst>
      <p:tags r:id="rId1"/>
    </p:custDataLst>
    <p:extLst>
      <p:ext uri="{BB962C8B-B14F-4D97-AF65-F5344CB8AC3E}">
        <p14:creationId xmlns:p14="http://schemas.microsoft.com/office/powerpoint/2010/main" val="283082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xEl>
                                              <p:pRg st="3" end="3"/>
                                            </p:txEl>
                                          </p:spTgt>
                                        </p:tgtEl>
                                        <p:attrNameLst>
                                          <p:attrName>style.visibility</p:attrName>
                                        </p:attrNameLst>
                                      </p:cBhvr>
                                      <p:to>
                                        <p:strVal val="visible"/>
                                      </p:to>
                                    </p:set>
                                    <p:animEffect transition="in" filter="fade">
                                      <p:cBhvr>
                                        <p:cTn id="20" dur="500"/>
                                        <p:tgtEl>
                                          <p:spTgt spid="5">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animEffect transition="in" filter="fade">
                                      <p:cBhvr>
                                        <p:cTn id="25" dur="500"/>
                                        <p:tgtEl>
                                          <p:spTgt spid="5">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
                                            <p:txEl>
                                              <p:pRg st="5" end="5"/>
                                            </p:txEl>
                                          </p:spTgt>
                                        </p:tgtEl>
                                        <p:attrNameLst>
                                          <p:attrName>style.visibility</p:attrName>
                                        </p:attrNameLst>
                                      </p:cBhvr>
                                      <p:to>
                                        <p:strVal val="visible"/>
                                      </p:to>
                                    </p:set>
                                    <p:animEffect transition="in" filter="fade">
                                      <p:cBhvr>
                                        <p:cTn id="30"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338" imgH="337" progId="TCLayout.ActiveDocument.1">
                  <p:embed/>
                </p:oleObj>
              </mc:Choice>
              <mc:Fallback>
                <p:oleObj name="think-cell Folie" r:id="rId5" imgW="338" imgH="337" progId="TCLayout.ActiveDocument.1">
                  <p:embed/>
                  <p:pic>
                    <p:nvPicPr>
                      <p:cNvPr id="3" name="Objekt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hteck 1" hidden="1"/>
          <p:cNvSpPr/>
          <p:nvPr>
            <p:custDataLst>
              <p:tags r:id="rId3"/>
            </p:custDataLst>
          </p:nvPr>
        </p:nvSpPr>
        <p:spPr bwMode="gray">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667" dirty="0">
              <a:latin typeface="Arial" panose="020B0604020202020204" pitchFamily="34" charset="0"/>
              <a:ea typeface="+mj-ea"/>
              <a:cs typeface="+mj-cs"/>
              <a:sym typeface="Arial" panose="020B0604020202020204" pitchFamily="34" charset="0"/>
            </a:endParaRPr>
          </a:p>
        </p:txBody>
      </p:sp>
      <p:sp>
        <p:nvSpPr>
          <p:cNvPr id="7" name="Rechteck 7"/>
          <p:cNvSpPr/>
          <p:nvPr/>
        </p:nvSpPr>
        <p:spPr bwMode="gray">
          <a:xfrm>
            <a:off x="2" y="373533"/>
            <a:ext cx="2927647" cy="570728"/>
          </a:xfrm>
          <a:prstGeom prst="rect">
            <a:avLst/>
          </a:prstGeom>
          <a:solidFill>
            <a:schemeClr val="bg1">
              <a:alpha val="75000"/>
            </a:schemeClr>
          </a:solidFill>
          <a:ln w="9525" cap="flat" cmpd="sng" algn="ctr">
            <a:noFill/>
            <a:prstDash val="solid"/>
            <a:round/>
            <a:headEnd type="none" w="med" len="med"/>
            <a:tailEnd type="none" w="med" len="med"/>
          </a:ln>
          <a:effectLst/>
        </p:spPr>
        <p:txBody>
          <a:bodyPr vert="horz" wrap="square" lIns="96000" tIns="0" rIns="96000" bIns="0" numCol="1" rtlCol="0" anchor="ctr" anchorCtr="0" compatLnSpc="1">
            <a:prstTxWarp prst="textNoShape">
              <a:avLst/>
            </a:prstTxWarp>
          </a:bodyPr>
          <a:lstStyle/>
          <a:p>
            <a:pPr defTabSz="1219170" fontAlgn="base">
              <a:spcBef>
                <a:spcPct val="20000"/>
              </a:spcBef>
              <a:spcAft>
                <a:spcPct val="0"/>
              </a:spcAft>
              <a:buClr>
                <a:schemeClr val="tx2"/>
              </a:buClr>
            </a:pPr>
            <a:endParaRPr lang="de-DE" sz="1867">
              <a:solidFill>
                <a:schemeClr val="accent1"/>
              </a:solidFill>
              <a:latin typeface="Arial" charset="0"/>
              <a:ea typeface="ＭＳ Ｐゴシック" charset="0"/>
              <a:cs typeface="Arial" charset="0"/>
            </a:endParaRPr>
          </a:p>
        </p:txBody>
      </p:sp>
      <p:sp>
        <p:nvSpPr>
          <p:cNvPr id="5" name="Title 4"/>
          <p:cNvSpPr>
            <a:spLocks noGrp="1"/>
          </p:cNvSpPr>
          <p:nvPr>
            <p:ph type="title"/>
          </p:nvPr>
        </p:nvSpPr>
        <p:spPr bwMode="gray">
          <a:xfrm>
            <a:off x="624000" y="452967"/>
            <a:ext cx="7199200" cy="623772"/>
          </a:xfrm>
        </p:spPr>
        <p:txBody>
          <a:bodyPr/>
          <a:lstStyle/>
          <a:p>
            <a:r>
              <a:rPr lang="en-US" sz="2667" dirty="0"/>
              <a:t>THANK YOU!</a:t>
            </a:r>
          </a:p>
        </p:txBody>
      </p:sp>
      <p:sp>
        <p:nvSpPr>
          <p:cNvPr id="8" name="Textfeld 4"/>
          <p:cNvSpPr txBox="1">
            <a:spLocks noChangeArrowheads="1"/>
          </p:cNvSpPr>
          <p:nvPr/>
        </p:nvSpPr>
        <p:spPr bwMode="gray">
          <a:xfrm>
            <a:off x="2374692" y="3909053"/>
            <a:ext cx="3697816" cy="778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8247" tIns="39124" rIns="78247" bIns="39124">
            <a:spAutoFit/>
          </a:bodyPr>
          <a:lstStyle>
            <a:lvl1pPr defTabSz="781050">
              <a:spcBef>
                <a:spcPct val="30000"/>
              </a:spcBef>
              <a:defRPr sz="1200">
                <a:solidFill>
                  <a:schemeClr val="tx1"/>
                </a:solidFill>
                <a:latin typeface="Arial" panose="020B0604020202020204" pitchFamily="34" charset="0"/>
                <a:ea typeface="MS PGothic" panose="020B0600070205080204" pitchFamily="34" charset="-128"/>
              </a:defRPr>
            </a:lvl1pPr>
            <a:lvl2pPr marL="633413" indent="-242888" defTabSz="781050">
              <a:spcBef>
                <a:spcPct val="30000"/>
              </a:spcBef>
              <a:defRPr sz="1200" b="1">
                <a:solidFill>
                  <a:schemeClr val="tx2"/>
                </a:solidFill>
                <a:latin typeface="Arial" panose="020B0604020202020204" pitchFamily="34" charset="0"/>
                <a:ea typeface="MS PGothic" panose="020B0600070205080204" pitchFamily="34" charset="-128"/>
              </a:defRPr>
            </a:lvl2pPr>
            <a:lvl3pPr marL="974725" indent="-193675" defTabSz="781050">
              <a:spcBef>
                <a:spcPct val="30000"/>
              </a:spcBef>
              <a:buClr>
                <a:schemeClr val="tx2"/>
              </a:buClr>
              <a:buFont typeface="Wingdings" panose="05000000000000000000" pitchFamily="2" charset="2"/>
              <a:buChar char="§"/>
              <a:defRPr sz="1200">
                <a:solidFill>
                  <a:schemeClr val="tx1"/>
                </a:solidFill>
                <a:latin typeface="Arial" panose="020B0604020202020204" pitchFamily="34" charset="0"/>
                <a:ea typeface="MS PGothic" panose="020B0600070205080204" pitchFamily="34" charset="-128"/>
              </a:defRPr>
            </a:lvl3pPr>
            <a:lvl4pPr marL="1365250" indent="-195263" defTabSz="781050">
              <a:spcBef>
                <a:spcPct val="20000"/>
              </a:spcBef>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4pPr>
            <a:lvl5pPr marL="1755775" indent="-195263" defTabSz="781050">
              <a:spcBef>
                <a:spcPct val="20000"/>
              </a:spcBef>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2129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6701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1273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5845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algn="ctr">
              <a:lnSpc>
                <a:spcPts val="2144"/>
              </a:lnSpc>
              <a:spcBef>
                <a:spcPct val="20000"/>
              </a:spcBef>
              <a:buClr>
                <a:schemeClr val="tx2"/>
              </a:buClr>
              <a:defRPr/>
            </a:pPr>
            <a:r>
              <a:rPr lang="de-DE" altLang="de-DE" sz="1204" dirty="0"/>
              <a:t>MISSION</a:t>
            </a:r>
          </a:p>
          <a:p>
            <a:pPr algn="ctr">
              <a:lnSpc>
                <a:spcPts val="2144"/>
              </a:lnSpc>
              <a:spcBef>
                <a:spcPct val="20000"/>
              </a:spcBef>
              <a:buClr>
                <a:schemeClr val="tx2"/>
              </a:buClr>
              <a:defRPr/>
            </a:pPr>
            <a:r>
              <a:rPr lang="de-DE" altLang="de-DE" sz="3811" dirty="0"/>
              <a:t>SAFETY</a:t>
            </a:r>
          </a:p>
        </p:txBody>
      </p:sp>
      <p:sp>
        <p:nvSpPr>
          <p:cNvPr id="4" name="TextBox 3">
            <a:extLst>
              <a:ext uri="{FF2B5EF4-FFF2-40B4-BE49-F238E27FC236}">
                <a16:creationId xmlns:a16="http://schemas.microsoft.com/office/drawing/2014/main" id="{511813D9-2891-4B47-E7C6-F36299C67802}"/>
              </a:ext>
            </a:extLst>
          </p:cNvPr>
          <p:cNvSpPr txBox="1"/>
          <p:nvPr/>
        </p:nvSpPr>
        <p:spPr>
          <a:xfrm>
            <a:off x="7708900" y="494866"/>
            <a:ext cx="4617720" cy="1569660"/>
          </a:xfrm>
          <a:prstGeom prst="rect">
            <a:avLst/>
          </a:prstGeom>
          <a:noFill/>
        </p:spPr>
        <p:txBody>
          <a:bodyPr wrap="square" rtlCol="0">
            <a:spAutoFit/>
          </a:bodyPr>
          <a:lstStyle/>
          <a:p>
            <a:r>
              <a:rPr lang="en-GB" sz="2400" b="1" dirty="0"/>
              <a:t>Contact information</a:t>
            </a:r>
          </a:p>
          <a:p>
            <a:r>
              <a:rPr lang="en-GB" sz="2400" dirty="0">
                <a:sym typeface="Wingdings" panose="05000000000000000000" pitchFamily="2" charset="2"/>
              </a:rPr>
              <a:t>Stephen Rowe</a:t>
            </a:r>
          </a:p>
          <a:p>
            <a:r>
              <a:rPr lang="en-GB" sz="2400" dirty="0">
                <a:sym typeface="Wingdings" panose="05000000000000000000" pitchFamily="2" charset="2"/>
              </a:rPr>
              <a:t> +(0)23 8076 0722</a:t>
            </a:r>
          </a:p>
          <a:p>
            <a:r>
              <a:rPr lang="en-GB" sz="2400" dirty="0">
                <a:sym typeface="Wingdings" panose="05000000000000000000" pitchFamily="2" charset="2"/>
              </a:rPr>
              <a:t> stephen.rowe@dekra.com</a:t>
            </a:r>
            <a:endParaRPr lang="en-GB" sz="2400" dirty="0"/>
          </a:p>
        </p:txBody>
      </p:sp>
    </p:spTree>
    <p:custDataLst>
      <p:tags r:id="rId1"/>
    </p:custDataLst>
    <p:extLst>
      <p:ext uri="{BB962C8B-B14F-4D97-AF65-F5344CB8AC3E}">
        <p14:creationId xmlns:p14="http://schemas.microsoft.com/office/powerpoint/2010/main" val="32995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1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Material &amp; Process Information</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89F59309-99F7-6A79-0015-ED4833401ED4}"/>
              </a:ext>
            </a:extLst>
          </p:cNvPr>
          <p:cNvSpPr txBox="1"/>
          <p:nvPr/>
        </p:nvSpPr>
        <p:spPr>
          <a:xfrm>
            <a:off x="692906" y="1105777"/>
            <a:ext cx="10609502" cy="1569660"/>
          </a:xfrm>
          <a:prstGeom prst="rect">
            <a:avLst/>
          </a:prstGeom>
          <a:noFill/>
        </p:spPr>
        <p:txBody>
          <a:bodyPr wrap="square" rtlCol="0">
            <a:spAutoFit/>
          </a:bodyPr>
          <a:lstStyle/>
          <a:p>
            <a:pPr marL="285750" indent="-285750">
              <a:buFont typeface="Arial" panose="020B0604020202020204" pitchFamily="34" charset="0"/>
              <a:buChar char="•"/>
            </a:pPr>
            <a:r>
              <a:rPr lang="en-GB" sz="2400" dirty="0"/>
              <a:t>Multi-step API manufacture. Intermediate containing 2 energetic functional groups.</a:t>
            </a:r>
          </a:p>
          <a:p>
            <a:pPr marL="285750" indent="-285750">
              <a:buFont typeface="Arial" panose="020B0604020202020204" pitchFamily="34" charset="0"/>
              <a:buChar char="•"/>
            </a:pPr>
            <a:r>
              <a:rPr lang="en-GB" sz="2400" dirty="0"/>
              <a:t>Material filtered, filter dried at 55°C, discharged to FIBC’s.</a:t>
            </a:r>
          </a:p>
          <a:p>
            <a:pPr marL="285750" indent="-285750">
              <a:buFont typeface="Arial" panose="020B0604020202020204" pitchFamily="34" charset="0"/>
              <a:buChar char="•"/>
            </a:pPr>
            <a:r>
              <a:rPr lang="en-GB" sz="2400" dirty="0"/>
              <a:t>Process fully </a:t>
            </a:r>
            <a:r>
              <a:rPr lang="en-GB" sz="2400" dirty="0" err="1"/>
              <a:t>HAZOP’d</a:t>
            </a:r>
            <a:r>
              <a:rPr lang="en-GB" sz="2400" dirty="0"/>
              <a:t> and in production since 2015. </a:t>
            </a:r>
          </a:p>
        </p:txBody>
      </p:sp>
      <p:sp>
        <p:nvSpPr>
          <p:cNvPr id="5" name="TextBox 4">
            <a:extLst>
              <a:ext uri="{FF2B5EF4-FFF2-40B4-BE49-F238E27FC236}">
                <a16:creationId xmlns:a16="http://schemas.microsoft.com/office/drawing/2014/main" id="{E296ABCF-6A99-2623-B377-D435352651DF}"/>
              </a:ext>
            </a:extLst>
          </p:cNvPr>
          <p:cNvSpPr txBox="1"/>
          <p:nvPr/>
        </p:nvSpPr>
        <p:spPr>
          <a:xfrm>
            <a:off x="5477882" y="3481215"/>
            <a:ext cx="1236236" cy="646331"/>
          </a:xfrm>
          <a:prstGeom prst="rect">
            <a:avLst/>
          </a:prstGeom>
          <a:solidFill>
            <a:schemeClr val="accent2"/>
          </a:solidFill>
        </p:spPr>
        <p:txBody>
          <a:bodyPr wrap="none" rtlCol="0">
            <a:spAutoFit/>
          </a:bodyPr>
          <a:lstStyle/>
          <a:p>
            <a:pPr algn="ctr"/>
            <a:r>
              <a:rPr lang="en-GB" dirty="0">
                <a:solidFill>
                  <a:schemeClr val="bg1"/>
                </a:solidFill>
              </a:rPr>
              <a:t>Material</a:t>
            </a:r>
          </a:p>
          <a:p>
            <a:pPr algn="ctr"/>
            <a:r>
              <a:rPr lang="en-GB" dirty="0">
                <a:solidFill>
                  <a:schemeClr val="bg1"/>
                </a:solidFill>
              </a:rPr>
              <a:t>Properties</a:t>
            </a:r>
          </a:p>
        </p:txBody>
      </p:sp>
      <p:sp>
        <p:nvSpPr>
          <p:cNvPr id="6" name="TextBox 5">
            <a:extLst>
              <a:ext uri="{FF2B5EF4-FFF2-40B4-BE49-F238E27FC236}">
                <a16:creationId xmlns:a16="http://schemas.microsoft.com/office/drawing/2014/main" id="{F9112CF6-2A36-A6A6-2D20-D47E36D9CA45}"/>
              </a:ext>
            </a:extLst>
          </p:cNvPr>
          <p:cNvSpPr txBox="1"/>
          <p:nvPr/>
        </p:nvSpPr>
        <p:spPr>
          <a:xfrm>
            <a:off x="806187" y="3065717"/>
            <a:ext cx="4042260" cy="1477328"/>
          </a:xfrm>
          <a:prstGeom prst="rect">
            <a:avLst/>
          </a:prstGeom>
          <a:solidFill>
            <a:schemeClr val="accent2"/>
          </a:solidFill>
        </p:spPr>
        <p:txBody>
          <a:bodyPr wrap="square" rtlCol="0">
            <a:spAutoFit/>
          </a:bodyPr>
          <a:lstStyle/>
          <a:p>
            <a:r>
              <a:rPr lang="en-GB" b="1" dirty="0">
                <a:solidFill>
                  <a:schemeClr val="bg1"/>
                </a:solidFill>
              </a:rPr>
              <a:t>Dust explosion</a:t>
            </a:r>
          </a:p>
          <a:p>
            <a:pPr marL="285750" indent="-285750">
              <a:buFont typeface="Arial" panose="020B0604020202020204" pitchFamily="34" charset="0"/>
              <a:buChar char="•"/>
            </a:pPr>
            <a:r>
              <a:rPr lang="en-GB" dirty="0">
                <a:solidFill>
                  <a:schemeClr val="bg1"/>
                </a:solidFill>
              </a:rPr>
              <a:t>MIE 60-80 </a:t>
            </a:r>
            <a:r>
              <a:rPr lang="en-GB" dirty="0" err="1">
                <a:solidFill>
                  <a:schemeClr val="bg1"/>
                </a:solidFill>
              </a:rPr>
              <a:t>mJ</a:t>
            </a:r>
            <a:r>
              <a:rPr lang="en-GB" dirty="0">
                <a:solidFill>
                  <a:schemeClr val="bg1"/>
                </a:solidFill>
              </a:rPr>
              <a:t> (mechanical spark)</a:t>
            </a:r>
          </a:p>
          <a:p>
            <a:pPr marL="285750" indent="-285750">
              <a:buFont typeface="Arial" panose="020B0604020202020204" pitchFamily="34" charset="0"/>
              <a:buChar char="•"/>
            </a:pPr>
            <a:r>
              <a:rPr lang="en-GB" dirty="0">
                <a:solidFill>
                  <a:schemeClr val="bg1"/>
                </a:solidFill>
              </a:rPr>
              <a:t>MIT 730°C</a:t>
            </a:r>
          </a:p>
          <a:p>
            <a:pPr marL="285750" indent="-285750">
              <a:buFont typeface="Arial" panose="020B0604020202020204" pitchFamily="34" charset="0"/>
              <a:buChar char="•"/>
            </a:pPr>
            <a:r>
              <a:rPr lang="en-GB" dirty="0">
                <a:solidFill>
                  <a:schemeClr val="bg1"/>
                </a:solidFill>
              </a:rPr>
              <a:t>LIT 260°C</a:t>
            </a:r>
          </a:p>
          <a:p>
            <a:pPr marL="285750" indent="-285750">
              <a:buFont typeface="Arial" panose="020B0604020202020204" pitchFamily="34" charset="0"/>
              <a:buChar char="•"/>
            </a:pPr>
            <a:r>
              <a:rPr lang="en-GB" dirty="0">
                <a:solidFill>
                  <a:schemeClr val="bg1"/>
                </a:solidFill>
              </a:rPr>
              <a:t>St 1 (low explosion severity)</a:t>
            </a:r>
          </a:p>
        </p:txBody>
      </p:sp>
      <p:sp>
        <p:nvSpPr>
          <p:cNvPr id="7" name="TextBox 6">
            <a:extLst>
              <a:ext uri="{FF2B5EF4-FFF2-40B4-BE49-F238E27FC236}">
                <a16:creationId xmlns:a16="http://schemas.microsoft.com/office/drawing/2014/main" id="{8FD77663-494C-4E2A-04B6-E9B2EA1019B0}"/>
              </a:ext>
            </a:extLst>
          </p:cNvPr>
          <p:cNvSpPr txBox="1"/>
          <p:nvPr/>
        </p:nvSpPr>
        <p:spPr>
          <a:xfrm>
            <a:off x="7343553" y="3065717"/>
            <a:ext cx="4042260" cy="1477328"/>
          </a:xfrm>
          <a:prstGeom prst="rect">
            <a:avLst/>
          </a:prstGeom>
          <a:solidFill>
            <a:schemeClr val="accent2"/>
          </a:solidFill>
        </p:spPr>
        <p:txBody>
          <a:bodyPr wrap="square" rtlCol="0">
            <a:spAutoFit/>
          </a:bodyPr>
          <a:lstStyle/>
          <a:p>
            <a:r>
              <a:rPr lang="en-GB" b="1" dirty="0">
                <a:solidFill>
                  <a:schemeClr val="bg1"/>
                </a:solidFill>
              </a:rPr>
              <a:t>Thermal stability</a:t>
            </a:r>
          </a:p>
          <a:p>
            <a:pPr marL="285750" indent="-285750">
              <a:buFont typeface="Arial" panose="020B0604020202020204" pitchFamily="34" charset="0"/>
              <a:buChar char="•"/>
            </a:pPr>
            <a:r>
              <a:rPr lang="en-GB" dirty="0">
                <a:solidFill>
                  <a:schemeClr val="bg1"/>
                </a:solidFill>
              </a:rPr>
              <a:t>UN Class 4.1 (flammable solid)</a:t>
            </a:r>
          </a:p>
          <a:p>
            <a:pPr marL="285750" indent="-285750">
              <a:buFont typeface="Arial" panose="020B0604020202020204" pitchFamily="34" charset="0"/>
              <a:buChar char="•"/>
            </a:pPr>
            <a:r>
              <a:rPr lang="en-GB" dirty="0">
                <a:solidFill>
                  <a:schemeClr val="bg1"/>
                </a:solidFill>
              </a:rPr>
              <a:t>Energetic decomposition (1870 J/g by DSC)</a:t>
            </a:r>
          </a:p>
          <a:p>
            <a:pPr marL="285750" indent="-285750">
              <a:buFont typeface="Arial" panose="020B0604020202020204" pitchFamily="34" charset="0"/>
              <a:buChar char="•"/>
            </a:pPr>
            <a:r>
              <a:rPr lang="en-GB" dirty="0">
                <a:solidFill>
                  <a:schemeClr val="bg1"/>
                </a:solidFill>
              </a:rPr>
              <a:t>TD</a:t>
            </a:r>
            <a:r>
              <a:rPr lang="en-GB" baseline="-25000" dirty="0">
                <a:solidFill>
                  <a:schemeClr val="bg1"/>
                </a:solidFill>
              </a:rPr>
              <a:t>24</a:t>
            </a:r>
            <a:r>
              <a:rPr lang="en-GB" dirty="0">
                <a:solidFill>
                  <a:schemeClr val="bg1"/>
                </a:solidFill>
              </a:rPr>
              <a:t> = 170°C by ARC</a:t>
            </a:r>
          </a:p>
        </p:txBody>
      </p:sp>
      <p:sp>
        <p:nvSpPr>
          <p:cNvPr id="8" name="TextBox 7">
            <a:extLst>
              <a:ext uri="{FF2B5EF4-FFF2-40B4-BE49-F238E27FC236}">
                <a16:creationId xmlns:a16="http://schemas.microsoft.com/office/drawing/2014/main" id="{3C74375F-6DF7-B613-518F-39B7C2050E57}"/>
              </a:ext>
            </a:extLst>
          </p:cNvPr>
          <p:cNvSpPr txBox="1"/>
          <p:nvPr/>
        </p:nvSpPr>
        <p:spPr>
          <a:xfrm>
            <a:off x="4073435" y="4798226"/>
            <a:ext cx="4042260" cy="1200329"/>
          </a:xfrm>
          <a:prstGeom prst="rect">
            <a:avLst/>
          </a:prstGeom>
          <a:solidFill>
            <a:schemeClr val="accent2"/>
          </a:solidFill>
        </p:spPr>
        <p:txBody>
          <a:bodyPr wrap="square" rtlCol="0">
            <a:spAutoFit/>
          </a:bodyPr>
          <a:lstStyle/>
          <a:p>
            <a:r>
              <a:rPr lang="en-GB" b="1" dirty="0">
                <a:solidFill>
                  <a:schemeClr val="bg1"/>
                </a:solidFill>
              </a:rPr>
              <a:t>Explosive Properties</a:t>
            </a:r>
          </a:p>
          <a:p>
            <a:pPr marL="285750" indent="-285750">
              <a:buFont typeface="Arial" panose="020B0604020202020204" pitchFamily="34" charset="0"/>
              <a:buChar char="•"/>
            </a:pPr>
            <a:r>
              <a:rPr lang="en-GB" dirty="0">
                <a:solidFill>
                  <a:schemeClr val="bg1"/>
                </a:solidFill>
              </a:rPr>
              <a:t>Borderline explosive</a:t>
            </a:r>
          </a:p>
          <a:p>
            <a:pPr marL="285750" indent="-285750">
              <a:buFont typeface="Arial" panose="020B0604020202020204" pitchFamily="34" charset="0"/>
              <a:buChar char="•"/>
            </a:pPr>
            <a:r>
              <a:rPr lang="en-GB" dirty="0">
                <a:solidFill>
                  <a:schemeClr val="bg1"/>
                </a:solidFill>
              </a:rPr>
              <a:t>Negative impact and friction test</a:t>
            </a:r>
          </a:p>
          <a:p>
            <a:pPr marL="285750" indent="-285750">
              <a:buFont typeface="Arial" panose="020B0604020202020204" pitchFamily="34" charset="0"/>
              <a:buChar char="•"/>
            </a:pPr>
            <a:r>
              <a:rPr lang="en-GB" dirty="0">
                <a:solidFill>
                  <a:schemeClr val="bg1"/>
                </a:solidFill>
              </a:rPr>
              <a:t>Negative in UN Test Series 2 tests</a:t>
            </a:r>
          </a:p>
        </p:txBody>
      </p:sp>
      <p:cxnSp>
        <p:nvCxnSpPr>
          <p:cNvPr id="10" name="Straight Arrow Connector 9">
            <a:extLst>
              <a:ext uri="{FF2B5EF4-FFF2-40B4-BE49-F238E27FC236}">
                <a16:creationId xmlns:a16="http://schemas.microsoft.com/office/drawing/2014/main" id="{435889B3-79F2-4789-61A8-B696241B87CA}"/>
              </a:ext>
            </a:extLst>
          </p:cNvPr>
          <p:cNvCxnSpPr>
            <a:stCxn id="5" idx="1"/>
            <a:endCxn id="6" idx="3"/>
          </p:cNvCxnSpPr>
          <p:nvPr/>
        </p:nvCxnSpPr>
        <p:spPr>
          <a:xfrm flipH="1">
            <a:off x="4848447" y="3804381"/>
            <a:ext cx="6294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5F28642-A838-0F5E-FD4C-3B4866AA7856}"/>
              </a:ext>
            </a:extLst>
          </p:cNvPr>
          <p:cNvCxnSpPr>
            <a:stCxn id="5" idx="3"/>
            <a:endCxn id="7" idx="1"/>
          </p:cNvCxnSpPr>
          <p:nvPr/>
        </p:nvCxnSpPr>
        <p:spPr>
          <a:xfrm>
            <a:off x="6714118" y="3804381"/>
            <a:ext cx="6294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DFA91F2-6F7F-BF8F-BB92-5ACE63C5F781}"/>
              </a:ext>
            </a:extLst>
          </p:cNvPr>
          <p:cNvCxnSpPr>
            <a:stCxn id="5" idx="2"/>
            <a:endCxn id="8" idx="0"/>
          </p:cNvCxnSpPr>
          <p:nvPr/>
        </p:nvCxnSpPr>
        <p:spPr>
          <a:xfrm flipH="1">
            <a:off x="6094565" y="4127546"/>
            <a:ext cx="1435" cy="6706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6279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Incident Description</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89F59309-99F7-6A79-0015-ED4833401ED4}"/>
              </a:ext>
            </a:extLst>
          </p:cNvPr>
          <p:cNvSpPr txBox="1"/>
          <p:nvPr/>
        </p:nvSpPr>
        <p:spPr>
          <a:xfrm>
            <a:off x="692906" y="1424759"/>
            <a:ext cx="5006145" cy="4154984"/>
          </a:xfrm>
          <a:prstGeom prst="rect">
            <a:avLst/>
          </a:prstGeom>
          <a:noFill/>
        </p:spPr>
        <p:txBody>
          <a:bodyPr wrap="square" rtlCol="0">
            <a:spAutoFit/>
          </a:bodyPr>
          <a:lstStyle/>
          <a:p>
            <a:pPr marL="285750" indent="-285750">
              <a:buFont typeface="Arial" panose="020B0604020202020204" pitchFamily="34" charset="0"/>
              <a:buChar char="•"/>
            </a:pPr>
            <a:r>
              <a:rPr lang="en-GB" sz="2400" dirty="0"/>
              <a:t>June 2019 – fifth batch of a five batch campaign.</a:t>
            </a:r>
          </a:p>
          <a:p>
            <a:pPr marL="285750" indent="-285750">
              <a:buFont typeface="Arial" panose="020B0604020202020204" pitchFamily="34" charset="0"/>
              <a:buChar char="•"/>
            </a:pPr>
            <a:r>
              <a:rPr lang="en-GB" sz="2400" dirty="0"/>
              <a:t>Problems with powder discharge (hold-up in intermediate hopper).</a:t>
            </a:r>
          </a:p>
          <a:p>
            <a:pPr marL="285750" indent="-285750">
              <a:buFont typeface="Arial" panose="020B0604020202020204" pitchFamily="34" charset="0"/>
              <a:buChar char="•"/>
            </a:pPr>
            <a:r>
              <a:rPr lang="en-GB" sz="2400" dirty="0"/>
              <a:t>Mechanical </a:t>
            </a:r>
            <a:r>
              <a:rPr lang="en-GB" sz="2400" dirty="0" err="1"/>
              <a:t>delumper</a:t>
            </a:r>
            <a:r>
              <a:rPr lang="en-GB" sz="2400" dirty="0"/>
              <a:t> used to break-up lumps but tripped twice.</a:t>
            </a:r>
          </a:p>
          <a:p>
            <a:pPr marL="285750" indent="-285750">
              <a:buFont typeface="Arial" panose="020B0604020202020204" pitchFamily="34" charset="0"/>
              <a:buChar char="•"/>
            </a:pPr>
            <a:r>
              <a:rPr lang="en-GB" sz="2400" dirty="0"/>
              <a:t>After 10 – 11 minutes on hold, </a:t>
            </a:r>
            <a:r>
              <a:rPr lang="en-GB" sz="2400" dirty="0" err="1"/>
              <a:t>overpressurisation</a:t>
            </a:r>
            <a:r>
              <a:rPr lang="en-GB" sz="2400" dirty="0"/>
              <a:t> and release of white powder.</a:t>
            </a:r>
          </a:p>
          <a:p>
            <a:pPr marL="285750" indent="-285750">
              <a:buFont typeface="Arial" panose="020B0604020202020204" pitchFamily="34" charset="0"/>
              <a:buChar char="•"/>
            </a:pPr>
            <a:r>
              <a:rPr lang="en-GB" sz="2400" dirty="0"/>
              <a:t>No serious injuries but reported to HSE under RIDDOR.</a:t>
            </a:r>
          </a:p>
        </p:txBody>
      </p:sp>
      <p:pic>
        <p:nvPicPr>
          <p:cNvPr id="9" name="Picture 8">
            <a:extLst>
              <a:ext uri="{FF2B5EF4-FFF2-40B4-BE49-F238E27FC236}">
                <a16:creationId xmlns:a16="http://schemas.microsoft.com/office/drawing/2014/main" id="{F21ECF25-577B-A06B-37E8-AEA41EDB135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588390"/>
            <a:ext cx="5604621" cy="3827721"/>
          </a:xfrm>
          <a:prstGeom prst="rect">
            <a:avLst/>
          </a:prstGeom>
          <a:noFill/>
        </p:spPr>
      </p:pic>
    </p:spTree>
    <p:extLst>
      <p:ext uri="{BB962C8B-B14F-4D97-AF65-F5344CB8AC3E}">
        <p14:creationId xmlns:p14="http://schemas.microsoft.com/office/powerpoint/2010/main" val="22817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Incident Cause Determination</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89F59309-99F7-6A79-0015-ED4833401ED4}"/>
              </a:ext>
            </a:extLst>
          </p:cNvPr>
          <p:cNvSpPr txBox="1"/>
          <p:nvPr/>
        </p:nvSpPr>
        <p:spPr>
          <a:xfrm>
            <a:off x="692906" y="1424759"/>
            <a:ext cx="6122564" cy="3508653"/>
          </a:xfrm>
          <a:prstGeom prst="rect">
            <a:avLst/>
          </a:prstGeom>
          <a:noFill/>
        </p:spPr>
        <p:txBody>
          <a:bodyPr wrap="square" rtlCol="0">
            <a:spAutoFit/>
          </a:bodyPr>
          <a:lstStyle/>
          <a:p>
            <a:pPr marL="285750" indent="-285750">
              <a:buFont typeface="Arial" panose="020B0604020202020204" pitchFamily="34" charset="0"/>
              <a:buChar char="•"/>
            </a:pPr>
            <a:r>
              <a:rPr lang="en-GB" sz="2400" dirty="0"/>
              <a:t>A root cause analysis identified three possible causes of the top event (Loss of Containment):</a:t>
            </a:r>
          </a:p>
          <a:p>
            <a:pPr marL="285750" indent="-285750">
              <a:buFont typeface="Arial" panose="020B0604020202020204" pitchFamily="34" charset="0"/>
              <a:buChar char="•"/>
            </a:pPr>
            <a:endParaRPr lang="en-GB" sz="2400" dirty="0"/>
          </a:p>
          <a:p>
            <a:pPr>
              <a:spcAft>
                <a:spcPts val="1200"/>
              </a:spcAft>
            </a:pPr>
            <a:r>
              <a:rPr lang="en-GB" sz="2400" dirty="0"/>
              <a:t>	1.	Internal deflagration</a:t>
            </a:r>
          </a:p>
          <a:p>
            <a:pPr>
              <a:spcAft>
                <a:spcPts val="1200"/>
              </a:spcAft>
            </a:pPr>
            <a:r>
              <a:rPr lang="en-GB" sz="2400" dirty="0"/>
              <a:t>	2.	High pressure nitrogen supply</a:t>
            </a:r>
          </a:p>
          <a:p>
            <a:pPr>
              <a:spcAft>
                <a:spcPts val="1200"/>
              </a:spcAft>
            </a:pPr>
            <a:r>
              <a:rPr lang="en-GB" sz="2400" dirty="0"/>
              <a:t>	3. 	Product decomposition</a:t>
            </a:r>
          </a:p>
          <a:p>
            <a:endParaRPr lang="en-GB" sz="2400" dirty="0"/>
          </a:p>
        </p:txBody>
      </p:sp>
      <p:pic>
        <p:nvPicPr>
          <p:cNvPr id="6" name="Graphic 5" descr="Badge Question Mark with solid fill">
            <a:extLst>
              <a:ext uri="{FF2B5EF4-FFF2-40B4-BE49-F238E27FC236}">
                <a16:creationId xmlns:a16="http://schemas.microsoft.com/office/drawing/2014/main" id="{0AD7C7F5-151E-0295-AA47-F57ED24B83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81061" y="3938522"/>
            <a:ext cx="457200" cy="457200"/>
          </a:xfrm>
          <a:prstGeom prst="rect">
            <a:avLst/>
          </a:prstGeom>
        </p:spPr>
      </p:pic>
      <p:pic>
        <p:nvPicPr>
          <p:cNvPr id="8" name="Graphic 7" descr="Badge Cross with solid fill">
            <a:extLst>
              <a:ext uri="{FF2B5EF4-FFF2-40B4-BE49-F238E27FC236}">
                <a16:creationId xmlns:a16="http://schemas.microsoft.com/office/drawing/2014/main" id="{851A2A76-2942-C7D3-D2C5-1A776E04595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59796" y="2865479"/>
            <a:ext cx="499730" cy="499730"/>
          </a:xfrm>
          <a:prstGeom prst="rect">
            <a:avLst/>
          </a:prstGeom>
        </p:spPr>
      </p:pic>
      <p:pic>
        <p:nvPicPr>
          <p:cNvPr id="10" name="Graphic 9" descr="Badge Cross with solid fill">
            <a:extLst>
              <a:ext uri="{FF2B5EF4-FFF2-40B4-BE49-F238E27FC236}">
                <a16:creationId xmlns:a16="http://schemas.microsoft.com/office/drawing/2014/main" id="{90FFA7B8-9BD3-BEC4-627B-10720E74874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59796" y="3418365"/>
            <a:ext cx="499730" cy="499730"/>
          </a:xfrm>
          <a:prstGeom prst="rect">
            <a:avLst/>
          </a:prstGeom>
        </p:spPr>
      </p:pic>
      <p:sp>
        <p:nvSpPr>
          <p:cNvPr id="11" name="TextBox 10">
            <a:extLst>
              <a:ext uri="{FF2B5EF4-FFF2-40B4-BE49-F238E27FC236}">
                <a16:creationId xmlns:a16="http://schemas.microsoft.com/office/drawing/2014/main" id="{88D82AEE-5C08-14F4-84EE-AC6DE875F69F}"/>
              </a:ext>
            </a:extLst>
          </p:cNvPr>
          <p:cNvSpPr txBox="1"/>
          <p:nvPr/>
        </p:nvSpPr>
        <p:spPr>
          <a:xfrm>
            <a:off x="7216049" y="2452504"/>
            <a:ext cx="4778806" cy="923330"/>
          </a:xfrm>
          <a:prstGeom prst="rect">
            <a:avLst/>
          </a:prstGeom>
          <a:noFill/>
        </p:spPr>
        <p:txBody>
          <a:bodyPr wrap="square" rtlCol="0">
            <a:spAutoFit/>
          </a:bodyPr>
          <a:lstStyle/>
          <a:p>
            <a:pPr marL="285750" indent="-285750">
              <a:buFont typeface="Arial" panose="020B0604020202020204" pitchFamily="34" charset="0"/>
              <a:buChar char="•"/>
            </a:pPr>
            <a:r>
              <a:rPr lang="en-GB" dirty="0"/>
              <a:t>event lasted minutes, not </a:t>
            </a:r>
            <a:r>
              <a:rPr lang="en-GB" dirty="0" err="1"/>
              <a:t>ms</a:t>
            </a:r>
            <a:endParaRPr lang="en-GB" dirty="0"/>
          </a:p>
          <a:p>
            <a:pPr marL="285750" indent="-285750">
              <a:buFont typeface="Arial" panose="020B0604020202020204" pitchFamily="34" charset="0"/>
              <a:buChar char="•"/>
            </a:pPr>
            <a:r>
              <a:rPr lang="en-GB" dirty="0"/>
              <a:t>discharge not consistent with combustion</a:t>
            </a:r>
          </a:p>
          <a:p>
            <a:pPr marL="285750" indent="-285750">
              <a:buFont typeface="Arial" panose="020B0604020202020204" pitchFamily="34" charset="0"/>
              <a:buChar char="•"/>
            </a:pPr>
            <a:r>
              <a:rPr lang="en-GB" dirty="0"/>
              <a:t>ignition sources not present</a:t>
            </a:r>
          </a:p>
        </p:txBody>
      </p:sp>
      <p:sp>
        <p:nvSpPr>
          <p:cNvPr id="12" name="Left Brace 11">
            <a:extLst>
              <a:ext uri="{FF2B5EF4-FFF2-40B4-BE49-F238E27FC236}">
                <a16:creationId xmlns:a16="http://schemas.microsoft.com/office/drawing/2014/main" id="{CED58C2F-A47A-2177-A5C0-C21724E066E6}"/>
              </a:ext>
            </a:extLst>
          </p:cNvPr>
          <p:cNvSpPr/>
          <p:nvPr/>
        </p:nvSpPr>
        <p:spPr>
          <a:xfrm>
            <a:off x="6815471" y="2495031"/>
            <a:ext cx="446298" cy="822321"/>
          </a:xfrm>
          <a:prstGeom prst="leftBrace">
            <a:avLst>
              <a:gd name="adj1" fmla="val 8333"/>
              <a:gd name="adj2" fmla="val 71981"/>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Left Brace 12">
            <a:extLst>
              <a:ext uri="{FF2B5EF4-FFF2-40B4-BE49-F238E27FC236}">
                <a16:creationId xmlns:a16="http://schemas.microsoft.com/office/drawing/2014/main" id="{23C430E6-9AF1-12F8-CC01-5F7F17B8BB99}"/>
              </a:ext>
            </a:extLst>
          </p:cNvPr>
          <p:cNvSpPr/>
          <p:nvPr/>
        </p:nvSpPr>
        <p:spPr>
          <a:xfrm>
            <a:off x="6794291" y="3492789"/>
            <a:ext cx="467478" cy="369332"/>
          </a:xfrm>
          <a:prstGeom prst="leftBrace">
            <a:avLst>
              <a:gd name="adj1" fmla="val 8333"/>
              <a:gd name="adj2" fmla="val 45707"/>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E5570473-B996-B877-FE71-5FDC00454932}"/>
              </a:ext>
            </a:extLst>
          </p:cNvPr>
          <p:cNvSpPr txBox="1"/>
          <p:nvPr/>
        </p:nvSpPr>
        <p:spPr>
          <a:xfrm>
            <a:off x="7216049" y="3492789"/>
            <a:ext cx="4778806" cy="369332"/>
          </a:xfrm>
          <a:prstGeom prst="rect">
            <a:avLst/>
          </a:prstGeom>
          <a:noFill/>
        </p:spPr>
        <p:txBody>
          <a:bodyPr wrap="square" rtlCol="0">
            <a:spAutoFit/>
          </a:bodyPr>
          <a:lstStyle/>
          <a:p>
            <a:r>
              <a:rPr lang="en-GB" dirty="0"/>
              <a:t>Ejected powder was chemically altered.</a:t>
            </a:r>
          </a:p>
        </p:txBody>
      </p:sp>
      <p:sp>
        <p:nvSpPr>
          <p:cNvPr id="15" name="TextBox 14">
            <a:extLst>
              <a:ext uri="{FF2B5EF4-FFF2-40B4-BE49-F238E27FC236}">
                <a16:creationId xmlns:a16="http://schemas.microsoft.com/office/drawing/2014/main" id="{4E90B448-7B59-BA9F-B5A6-DF6A665F9CA2}"/>
              </a:ext>
            </a:extLst>
          </p:cNvPr>
          <p:cNvSpPr txBox="1"/>
          <p:nvPr/>
        </p:nvSpPr>
        <p:spPr>
          <a:xfrm>
            <a:off x="1743739" y="4986568"/>
            <a:ext cx="8474149" cy="646331"/>
          </a:xfrm>
          <a:prstGeom prst="rect">
            <a:avLst/>
          </a:prstGeom>
          <a:solidFill>
            <a:schemeClr val="accent2"/>
          </a:solidFill>
        </p:spPr>
        <p:txBody>
          <a:bodyPr wrap="square" rtlCol="0">
            <a:spAutoFit/>
          </a:bodyPr>
          <a:lstStyle/>
          <a:p>
            <a:pPr algn="ctr"/>
            <a:r>
              <a:rPr lang="en-GB" dirty="0">
                <a:solidFill>
                  <a:schemeClr val="bg1"/>
                </a:solidFill>
              </a:rPr>
              <a:t>Product decomposition could not be discounted, but initially felt unlikely. </a:t>
            </a:r>
          </a:p>
          <a:p>
            <a:pPr algn="ctr"/>
            <a:r>
              <a:rPr lang="en-GB" dirty="0">
                <a:solidFill>
                  <a:schemeClr val="bg1"/>
                </a:solidFill>
              </a:rPr>
              <a:t>Further studies undertaken despite the TD</a:t>
            </a:r>
            <a:r>
              <a:rPr lang="en-GB" baseline="-25000" dirty="0">
                <a:solidFill>
                  <a:schemeClr val="bg1"/>
                </a:solidFill>
              </a:rPr>
              <a:t>24</a:t>
            </a:r>
            <a:r>
              <a:rPr lang="en-GB" dirty="0">
                <a:solidFill>
                  <a:schemeClr val="bg1"/>
                </a:solidFill>
              </a:rPr>
              <a:t> of the pure compound being 170°C. </a:t>
            </a:r>
          </a:p>
        </p:txBody>
      </p:sp>
    </p:spTree>
    <p:custDataLst>
      <p:tags r:id="rId1"/>
    </p:custDataLst>
    <p:extLst>
      <p:ext uri="{BB962C8B-B14F-4D97-AF65-F5344CB8AC3E}">
        <p14:creationId xmlns:p14="http://schemas.microsoft.com/office/powerpoint/2010/main" val="340344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13" grpId="0" animBg="1"/>
      <p:bldP spid="14" grpId="0"/>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Defining “Safe” Material Temperatures</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89F59309-99F7-6A79-0015-ED4833401ED4}"/>
              </a:ext>
            </a:extLst>
          </p:cNvPr>
          <p:cNvSpPr txBox="1"/>
          <p:nvPr/>
        </p:nvSpPr>
        <p:spPr>
          <a:xfrm>
            <a:off x="7039316" y="1037662"/>
            <a:ext cx="4220564" cy="4708981"/>
          </a:xfrm>
          <a:prstGeom prst="rect">
            <a:avLst/>
          </a:prstGeom>
          <a:noFill/>
        </p:spPr>
        <p:txBody>
          <a:bodyPr wrap="square" rtlCol="0">
            <a:spAutoFit/>
          </a:bodyPr>
          <a:lstStyle/>
          <a:p>
            <a:r>
              <a:rPr lang="en-GB" sz="2000" dirty="0"/>
              <a:t>How to determine safe temperature for a solid?</a:t>
            </a:r>
          </a:p>
          <a:p>
            <a:endParaRPr lang="en-GB" sz="2000" dirty="0"/>
          </a:p>
          <a:p>
            <a:pPr marL="342900" indent="-342900">
              <a:spcAft>
                <a:spcPts val="1200"/>
              </a:spcAft>
              <a:buFont typeface="Arial" panose="020B0604020202020204" pitchFamily="34" charset="0"/>
              <a:buChar char="•"/>
            </a:pPr>
            <a:r>
              <a:rPr lang="en-GB" sz="2000" dirty="0"/>
              <a:t>Applying a blanket “safety margin”</a:t>
            </a:r>
          </a:p>
          <a:p>
            <a:pPr marL="342900" indent="-342900">
              <a:spcAft>
                <a:spcPts val="1200"/>
              </a:spcAft>
              <a:buFont typeface="Arial" panose="020B0604020202020204" pitchFamily="34" charset="0"/>
              <a:buChar char="•"/>
            </a:pPr>
            <a:r>
              <a:rPr lang="en-GB" sz="2000" dirty="0"/>
              <a:t>Using simple empirical corrections.</a:t>
            </a:r>
          </a:p>
          <a:p>
            <a:pPr marL="342900" indent="-342900">
              <a:spcAft>
                <a:spcPts val="1200"/>
              </a:spcAft>
              <a:buFont typeface="Arial" panose="020B0604020202020204" pitchFamily="34" charset="0"/>
              <a:buChar char="•"/>
            </a:pPr>
            <a:r>
              <a:rPr lang="en-GB" sz="2000" dirty="0"/>
              <a:t>Using the TD</a:t>
            </a:r>
            <a:r>
              <a:rPr lang="en-GB" sz="2000" baseline="-25000" dirty="0"/>
              <a:t>24</a:t>
            </a:r>
            <a:r>
              <a:rPr lang="en-GB" sz="2000" dirty="0"/>
              <a:t> value from adiabatic calorimetry.</a:t>
            </a:r>
          </a:p>
          <a:p>
            <a:pPr marL="342900" indent="-342900">
              <a:spcAft>
                <a:spcPts val="1200"/>
              </a:spcAft>
              <a:buFont typeface="Arial" panose="020B0604020202020204" pitchFamily="34" charset="0"/>
              <a:buChar char="•"/>
            </a:pPr>
            <a:r>
              <a:rPr lang="en-GB" sz="2000" dirty="0"/>
              <a:t>Multiple tests to extract kinetic parameters / build full kinetic model.</a:t>
            </a:r>
          </a:p>
          <a:p>
            <a:pPr marL="342900" indent="-342900">
              <a:spcAft>
                <a:spcPts val="1200"/>
              </a:spcAft>
              <a:buFont typeface="Arial" panose="020B0604020202020204" pitchFamily="34" charset="0"/>
              <a:buChar char="•"/>
            </a:pPr>
            <a:r>
              <a:rPr lang="en-GB" sz="2000" dirty="0"/>
              <a:t>Extreme sensitivity calorimetry</a:t>
            </a:r>
          </a:p>
        </p:txBody>
      </p:sp>
      <p:pic>
        <p:nvPicPr>
          <p:cNvPr id="5" name="Picture 4">
            <a:extLst>
              <a:ext uri="{FF2B5EF4-FFF2-40B4-BE49-F238E27FC236}">
                <a16:creationId xmlns:a16="http://schemas.microsoft.com/office/drawing/2014/main" id="{2FB5EBD8-2F0C-2733-D2E4-CCB470B90130}"/>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656" y="1326533"/>
            <a:ext cx="6530260" cy="4458158"/>
          </a:xfrm>
          <a:prstGeom prst="rect">
            <a:avLst/>
          </a:prstGeom>
          <a:noFill/>
        </p:spPr>
      </p:pic>
      <p:pic>
        <p:nvPicPr>
          <p:cNvPr id="6" name="Graphic 5" descr="Badge Cross with solid fill">
            <a:extLst>
              <a:ext uri="{FF2B5EF4-FFF2-40B4-BE49-F238E27FC236}">
                <a16:creationId xmlns:a16="http://schemas.microsoft.com/office/drawing/2014/main" id="{F7E28452-CD3E-9A2D-6216-3CE1D408A3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12280" y="2046772"/>
            <a:ext cx="499730" cy="499730"/>
          </a:xfrm>
          <a:prstGeom prst="rect">
            <a:avLst/>
          </a:prstGeom>
        </p:spPr>
      </p:pic>
      <p:pic>
        <p:nvPicPr>
          <p:cNvPr id="7" name="Graphic 6" descr="Badge Cross with solid fill">
            <a:extLst>
              <a:ext uri="{FF2B5EF4-FFF2-40B4-BE49-F238E27FC236}">
                <a16:creationId xmlns:a16="http://schemas.microsoft.com/office/drawing/2014/main" id="{AC6DB5F4-CE55-2C15-E3F4-B10F4EF07F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12280" y="2772547"/>
            <a:ext cx="499730" cy="499730"/>
          </a:xfrm>
          <a:prstGeom prst="rect">
            <a:avLst/>
          </a:prstGeom>
        </p:spPr>
      </p:pic>
      <p:pic>
        <p:nvPicPr>
          <p:cNvPr id="8" name="Graphic 7" descr="Badge Cross with solid fill">
            <a:extLst>
              <a:ext uri="{FF2B5EF4-FFF2-40B4-BE49-F238E27FC236}">
                <a16:creationId xmlns:a16="http://schemas.microsoft.com/office/drawing/2014/main" id="{D0F67561-AE65-D6CB-E5FA-1975972DC5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412280" y="3555612"/>
            <a:ext cx="499730" cy="499730"/>
          </a:xfrm>
          <a:prstGeom prst="rect">
            <a:avLst/>
          </a:prstGeom>
        </p:spPr>
      </p:pic>
      <p:sp>
        <p:nvSpPr>
          <p:cNvPr id="13" name="Freeform: Shape 12">
            <a:extLst>
              <a:ext uri="{FF2B5EF4-FFF2-40B4-BE49-F238E27FC236}">
                <a16:creationId xmlns:a16="http://schemas.microsoft.com/office/drawing/2014/main" id="{1A8E629A-DB3C-3929-2A33-B165D65EFD74}"/>
              </a:ext>
            </a:extLst>
          </p:cNvPr>
          <p:cNvSpPr/>
          <p:nvPr/>
        </p:nvSpPr>
        <p:spPr>
          <a:xfrm>
            <a:off x="11464383" y="4445007"/>
            <a:ext cx="392227" cy="391153"/>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chemeClr val="accent2"/>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3765E15B-185C-30BB-5D1F-B21EE633AF9B}"/>
              </a:ext>
            </a:extLst>
          </p:cNvPr>
          <p:cNvSpPr/>
          <p:nvPr/>
        </p:nvSpPr>
        <p:spPr>
          <a:xfrm>
            <a:off x="11464383" y="5311305"/>
            <a:ext cx="392227" cy="391153"/>
          </a:xfrm>
          <a:custGeom>
            <a:avLst/>
            <a:gdLst>
              <a:gd name="connsiteX0" fmla="*/ 219075 w 438149"/>
              <a:gd name="connsiteY0" fmla="*/ 0 h 438150"/>
              <a:gd name="connsiteX1" fmla="*/ 0 w 438149"/>
              <a:gd name="connsiteY1" fmla="*/ 219075 h 438150"/>
              <a:gd name="connsiteX2" fmla="*/ 219075 w 438149"/>
              <a:gd name="connsiteY2" fmla="*/ 438150 h 438150"/>
              <a:gd name="connsiteX3" fmla="*/ 438150 w 438149"/>
              <a:gd name="connsiteY3" fmla="*/ 219075 h 438150"/>
              <a:gd name="connsiteX4" fmla="*/ 219075 w 438149"/>
              <a:gd name="connsiteY4" fmla="*/ 0 h 438150"/>
              <a:gd name="connsiteX5" fmla="*/ 187928 w 438149"/>
              <a:gd name="connsiteY5" fmla="*/ 308267 h 438150"/>
              <a:gd name="connsiteX6" fmla="*/ 92459 w 438149"/>
              <a:gd name="connsiteY6" fmla="*/ 212789 h 438150"/>
              <a:gd name="connsiteX7" fmla="*/ 124901 w 438149"/>
              <a:gd name="connsiteY7" fmla="*/ 180346 h 438150"/>
              <a:gd name="connsiteX8" fmla="*/ 187928 w 438149"/>
              <a:gd name="connsiteY8" fmla="*/ 243373 h 438150"/>
              <a:gd name="connsiteX9" fmla="*/ 317011 w 438149"/>
              <a:gd name="connsiteY9" fmla="*/ 114300 h 438150"/>
              <a:gd name="connsiteX10" fmla="*/ 349453 w 438149"/>
              <a:gd name="connsiteY10" fmla="*/ 146742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49" h="438150">
                <a:moveTo>
                  <a:pt x="219075" y="0"/>
                </a:moveTo>
                <a:cubicBezTo>
                  <a:pt x="98084" y="0"/>
                  <a:pt x="0" y="98084"/>
                  <a:pt x="0" y="219075"/>
                </a:cubicBezTo>
                <a:cubicBezTo>
                  <a:pt x="0" y="340066"/>
                  <a:pt x="98084" y="438150"/>
                  <a:pt x="219075" y="438150"/>
                </a:cubicBezTo>
                <a:cubicBezTo>
                  <a:pt x="340067" y="438150"/>
                  <a:pt x="438150" y="340066"/>
                  <a:pt x="438150" y="219075"/>
                </a:cubicBezTo>
                <a:cubicBezTo>
                  <a:pt x="438014" y="98140"/>
                  <a:pt x="340010" y="136"/>
                  <a:pt x="219075" y="0"/>
                </a:cubicBezTo>
                <a:close/>
                <a:moveTo>
                  <a:pt x="187928" y="308267"/>
                </a:moveTo>
                <a:lnTo>
                  <a:pt x="92459" y="212789"/>
                </a:lnTo>
                <a:lnTo>
                  <a:pt x="124901" y="180346"/>
                </a:lnTo>
                <a:lnTo>
                  <a:pt x="187928" y="243373"/>
                </a:lnTo>
                <a:lnTo>
                  <a:pt x="317011" y="114300"/>
                </a:lnTo>
                <a:lnTo>
                  <a:pt x="349453" y="146742"/>
                </a:lnTo>
                <a:close/>
              </a:path>
            </a:pathLst>
          </a:custGeom>
          <a:solidFill>
            <a:schemeClr val="accent2"/>
          </a:solidFill>
          <a:ln w="9525" cap="flat">
            <a:noFill/>
            <a:prstDash val="solid"/>
            <a:miter/>
          </a:ln>
        </p:spPr>
        <p:txBody>
          <a:bodyPr rtlCol="0" anchor="ctr"/>
          <a:lstStyle/>
          <a:p>
            <a:endParaRPr lang="en-GB"/>
          </a:p>
        </p:txBody>
      </p:sp>
      <p:sp>
        <p:nvSpPr>
          <p:cNvPr id="16" name="TextBox 15">
            <a:extLst>
              <a:ext uri="{FF2B5EF4-FFF2-40B4-BE49-F238E27FC236}">
                <a16:creationId xmlns:a16="http://schemas.microsoft.com/office/drawing/2014/main" id="{457E3D6E-72AA-B548-2219-44629941AF8C}"/>
              </a:ext>
            </a:extLst>
          </p:cNvPr>
          <p:cNvSpPr txBox="1"/>
          <p:nvPr/>
        </p:nvSpPr>
        <p:spPr>
          <a:xfrm rot="5400000">
            <a:off x="9823589" y="2745245"/>
            <a:ext cx="2388251" cy="584775"/>
          </a:xfrm>
          <a:prstGeom prst="rect">
            <a:avLst/>
          </a:prstGeom>
          <a:noFill/>
        </p:spPr>
        <p:txBody>
          <a:bodyPr wrap="square" rtlCol="0">
            <a:spAutoFit/>
          </a:bodyPr>
          <a:lstStyle/>
          <a:p>
            <a:pPr algn="ctr"/>
            <a:r>
              <a:rPr lang="en-GB" sz="1600" dirty="0"/>
              <a:t>Not suitable for autocatalytic reactions</a:t>
            </a:r>
          </a:p>
        </p:txBody>
      </p:sp>
      <p:sp>
        <p:nvSpPr>
          <p:cNvPr id="17" name="Right Brace 16">
            <a:extLst>
              <a:ext uri="{FF2B5EF4-FFF2-40B4-BE49-F238E27FC236}">
                <a16:creationId xmlns:a16="http://schemas.microsoft.com/office/drawing/2014/main" id="{AB6EF87E-BF6C-B63D-43D6-96B14B2D5435}"/>
              </a:ext>
            </a:extLst>
          </p:cNvPr>
          <p:cNvSpPr/>
          <p:nvPr/>
        </p:nvSpPr>
        <p:spPr>
          <a:xfrm>
            <a:off x="11196082" y="1843509"/>
            <a:ext cx="204503" cy="2388251"/>
          </a:xfrm>
          <a:prstGeom prst="rightBrace">
            <a:avLst/>
          </a:prstGeom>
          <a:ln w="2222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136183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Building a Kinetic Model</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89F59309-99F7-6A79-0015-ED4833401ED4}"/>
              </a:ext>
            </a:extLst>
          </p:cNvPr>
          <p:cNvSpPr txBox="1"/>
          <p:nvPr/>
        </p:nvSpPr>
        <p:spPr>
          <a:xfrm>
            <a:off x="682272" y="2398630"/>
            <a:ext cx="10981644" cy="2015936"/>
          </a:xfrm>
          <a:prstGeom prst="rect">
            <a:avLst/>
          </a:prstGeom>
          <a:noFill/>
        </p:spPr>
        <p:txBody>
          <a:bodyPr wrap="square" rtlCol="0">
            <a:spAutoFit/>
          </a:bodyPr>
          <a:lstStyle/>
          <a:p>
            <a:pPr marL="457200" indent="-457200">
              <a:spcAft>
                <a:spcPts val="1800"/>
              </a:spcAft>
              <a:buAutoNum type="arabicPeriod"/>
            </a:pPr>
            <a:r>
              <a:rPr lang="en-GB" sz="2000" dirty="0"/>
              <a:t>Examine process compositions to identify worst case.</a:t>
            </a:r>
          </a:p>
          <a:p>
            <a:pPr marL="457200" indent="-457200">
              <a:spcAft>
                <a:spcPts val="1800"/>
              </a:spcAft>
              <a:buAutoNum type="arabicPeriod"/>
            </a:pPr>
            <a:r>
              <a:rPr lang="en-GB" sz="2000" dirty="0"/>
              <a:t>Multiple tests to extract kinetic parameters.</a:t>
            </a:r>
          </a:p>
          <a:p>
            <a:pPr marL="457200" indent="-457200">
              <a:spcAft>
                <a:spcPts val="1800"/>
              </a:spcAft>
              <a:buAutoNum type="arabicPeriod"/>
            </a:pPr>
            <a:r>
              <a:rPr lang="en-GB" sz="2000" dirty="0"/>
              <a:t>Construct kinetic model.</a:t>
            </a:r>
          </a:p>
          <a:p>
            <a:pPr marL="457200" indent="-457200">
              <a:spcAft>
                <a:spcPts val="1800"/>
              </a:spcAft>
              <a:buAutoNum type="arabicPeriod"/>
            </a:pPr>
            <a:r>
              <a:rPr lang="en-GB" sz="2000" dirty="0"/>
              <a:t>Validate model against range of data.</a:t>
            </a:r>
          </a:p>
        </p:txBody>
      </p:sp>
    </p:spTree>
    <p:custDataLst>
      <p:tags r:id="rId1"/>
    </p:custDataLst>
    <p:extLst>
      <p:ext uri="{BB962C8B-B14F-4D97-AF65-F5344CB8AC3E}">
        <p14:creationId xmlns:p14="http://schemas.microsoft.com/office/powerpoint/2010/main" val="154516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Building a Kinetic Model: Worst Case Process Composition</a:t>
            </a:r>
          </a:p>
        </p:txBody>
      </p:sp>
      <p:sp>
        <p:nvSpPr>
          <p:cNvPr id="4" name="Tijdelijke aanduiding voor dianummer 3"/>
          <p:cNvSpPr>
            <a:spLocks noGrp="1"/>
          </p:cNvSpPr>
          <p:nvPr>
            <p:ph type="sldNum" sz="quarter" idx="12"/>
          </p:nvPr>
        </p:nvSpPr>
        <p:spPr/>
        <p:txBody>
          <a:bodyPr/>
          <a:lstStyle/>
          <a:p>
            <a:r>
              <a:rPr lang="en-US" noProof="0" dirty="0"/>
              <a:t> </a:t>
            </a:r>
          </a:p>
        </p:txBody>
      </p:sp>
      <p:graphicFrame>
        <p:nvGraphicFramePr>
          <p:cNvPr id="3" name="Chart 2">
            <a:extLst>
              <a:ext uri="{FF2B5EF4-FFF2-40B4-BE49-F238E27FC236}">
                <a16:creationId xmlns:a16="http://schemas.microsoft.com/office/drawing/2014/main" id="{00000000-0008-0000-0400-000002000000}"/>
              </a:ext>
            </a:extLst>
          </p:cNvPr>
          <p:cNvGraphicFramePr>
            <a:graphicFrameLocks noGrp="1"/>
          </p:cNvGraphicFramePr>
          <p:nvPr>
            <p:extLst>
              <p:ext uri="{D42A27DB-BD31-4B8C-83A1-F6EECF244321}">
                <p14:modId xmlns:p14="http://schemas.microsoft.com/office/powerpoint/2010/main" val="3994317317"/>
              </p:ext>
            </p:extLst>
          </p:nvPr>
        </p:nvGraphicFramePr>
        <p:xfrm>
          <a:off x="889593" y="806305"/>
          <a:ext cx="10731792" cy="5486695"/>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168573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animEffect transition="in" filter="fade">
                                      <p:cBhvr>
                                        <p:cTn id="7" dur="500"/>
                                        <p:tgtEl>
                                          <p:spTgt spid="3">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graphicEl>
                                              <a:chart seriesIdx="0" categoryIdx="-4" bldStep="series"/>
                                            </p:graphicEl>
                                          </p:spTgt>
                                        </p:tgtEl>
                                        <p:attrNameLst>
                                          <p:attrName>style.visibility</p:attrName>
                                        </p:attrNameLst>
                                      </p:cBhvr>
                                      <p:to>
                                        <p:strVal val="visible"/>
                                      </p:to>
                                    </p:set>
                                    <p:animEffect transition="in" filter="fade">
                                      <p:cBhvr>
                                        <p:cTn id="12" dur="500"/>
                                        <p:tgtEl>
                                          <p:spTgt spid="3">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graphicEl>
                                              <a:chart seriesIdx="1" categoryIdx="-4" bldStep="series"/>
                                            </p:graphicEl>
                                          </p:spTgt>
                                        </p:tgtEl>
                                        <p:attrNameLst>
                                          <p:attrName>style.visibility</p:attrName>
                                        </p:attrNameLst>
                                      </p:cBhvr>
                                      <p:to>
                                        <p:strVal val="visible"/>
                                      </p:to>
                                    </p:set>
                                    <p:animEffect transition="in" filter="fade">
                                      <p:cBhvr>
                                        <p:cTn id="17" dur="500"/>
                                        <p:tgtEl>
                                          <p:spTgt spid="3">
                                            <p:graphicEl>
                                              <a:chart seriesIdx="1" categoryIdx="-4" bldStep="series"/>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graphicEl>
                                              <a:chart seriesIdx="2" categoryIdx="-4" bldStep="series"/>
                                            </p:graphicEl>
                                          </p:spTgt>
                                        </p:tgtEl>
                                        <p:attrNameLst>
                                          <p:attrName>style.visibility</p:attrName>
                                        </p:attrNameLst>
                                      </p:cBhvr>
                                      <p:to>
                                        <p:strVal val="visible"/>
                                      </p:to>
                                    </p:set>
                                    <p:animEffect transition="in" filter="fade">
                                      <p:cBhvr>
                                        <p:cTn id="22" dur="500"/>
                                        <p:tgtEl>
                                          <p:spTgt spid="3">
                                            <p:graphicEl>
                                              <a:chart seriesIdx="2" categoryIdx="-4" bldStep="series"/>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graphicEl>
                                              <a:chart seriesIdx="3" categoryIdx="-4" bldStep="series"/>
                                            </p:graphicEl>
                                          </p:spTgt>
                                        </p:tgtEl>
                                        <p:attrNameLst>
                                          <p:attrName>style.visibility</p:attrName>
                                        </p:attrNameLst>
                                      </p:cBhvr>
                                      <p:to>
                                        <p:strVal val="visible"/>
                                      </p:to>
                                    </p:set>
                                    <p:animEffect transition="in" filter="fade">
                                      <p:cBhvr>
                                        <p:cTn id="27" dur="500"/>
                                        <p:tgtEl>
                                          <p:spTgt spid="3">
                                            <p:graphicEl>
                                              <a:chart seriesIdx="3" categoryIdx="-4" bldStep="series"/>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graphicEl>
                                              <a:chart seriesIdx="4" categoryIdx="-4" bldStep="series"/>
                                            </p:graphicEl>
                                          </p:spTgt>
                                        </p:tgtEl>
                                        <p:attrNameLst>
                                          <p:attrName>style.visibility</p:attrName>
                                        </p:attrNameLst>
                                      </p:cBhvr>
                                      <p:to>
                                        <p:strVal val="visible"/>
                                      </p:to>
                                    </p:set>
                                    <p:animEffect transition="in" filter="fade">
                                      <p:cBhvr>
                                        <p:cTn id="32" dur="500"/>
                                        <p:tgtEl>
                                          <p:spTgt spid="3">
                                            <p:graphicEl>
                                              <a:chart seriesIdx="4"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Chart bld="series"/>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Building a Kinetic Model: Worst Case Process Composition</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5" name="TextBox 4">
            <a:extLst>
              <a:ext uri="{FF2B5EF4-FFF2-40B4-BE49-F238E27FC236}">
                <a16:creationId xmlns:a16="http://schemas.microsoft.com/office/drawing/2014/main" id="{B6D68780-FCD9-B075-539E-3B205FEC8D96}"/>
              </a:ext>
            </a:extLst>
          </p:cNvPr>
          <p:cNvSpPr txBox="1"/>
          <p:nvPr/>
        </p:nvSpPr>
        <p:spPr>
          <a:xfrm>
            <a:off x="8852239" y="1582340"/>
            <a:ext cx="2985960" cy="3693319"/>
          </a:xfrm>
          <a:prstGeom prst="rect">
            <a:avLst/>
          </a:prstGeom>
          <a:noFill/>
        </p:spPr>
        <p:txBody>
          <a:bodyPr wrap="square" rtlCol="0">
            <a:spAutoFit/>
          </a:bodyPr>
          <a:lstStyle/>
          <a:p>
            <a:pPr marL="285750" indent="-285750">
              <a:buFont typeface="Arial" panose="020B0604020202020204" pitchFamily="34" charset="0"/>
              <a:buChar char="•"/>
            </a:pPr>
            <a:r>
              <a:rPr lang="en-GB" dirty="0"/>
              <a:t>Various compositions tested under identical condition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Pure compound MOST stable, not least.</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Chloride contamination prevented by procedural control and IPC.</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Wet cake retained as worst case (least stable)</a:t>
            </a:r>
          </a:p>
        </p:txBody>
      </p:sp>
      <p:graphicFrame>
        <p:nvGraphicFramePr>
          <p:cNvPr id="6" name="Table 5">
            <a:extLst>
              <a:ext uri="{FF2B5EF4-FFF2-40B4-BE49-F238E27FC236}">
                <a16:creationId xmlns:a16="http://schemas.microsoft.com/office/drawing/2014/main" id="{5BBECC25-CC55-7A7D-75B5-CFDC0FAA3627}"/>
              </a:ext>
            </a:extLst>
          </p:cNvPr>
          <p:cNvGraphicFramePr>
            <a:graphicFrameLocks noGrp="1"/>
          </p:cNvGraphicFramePr>
          <p:nvPr>
            <p:extLst>
              <p:ext uri="{D42A27DB-BD31-4B8C-83A1-F6EECF244321}">
                <p14:modId xmlns:p14="http://schemas.microsoft.com/office/powerpoint/2010/main" val="3405783051"/>
              </p:ext>
            </p:extLst>
          </p:nvPr>
        </p:nvGraphicFramePr>
        <p:xfrm>
          <a:off x="851451" y="1685743"/>
          <a:ext cx="7650439" cy="2245799"/>
        </p:xfrm>
        <a:graphic>
          <a:graphicData uri="http://schemas.openxmlformats.org/drawingml/2006/table">
            <a:tbl>
              <a:tblPr firstRow="1" firstCol="1" bandRow="1">
                <a:tableStyleId>{5C22544A-7EE6-4342-B048-85BDC9FD1C3A}</a:tableStyleId>
              </a:tblPr>
              <a:tblGrid>
                <a:gridCol w="1748319">
                  <a:extLst>
                    <a:ext uri="{9D8B030D-6E8A-4147-A177-3AD203B41FA5}">
                      <a16:colId xmlns:a16="http://schemas.microsoft.com/office/drawing/2014/main" val="2929542617"/>
                    </a:ext>
                  </a:extLst>
                </a:gridCol>
                <a:gridCol w="1212043">
                  <a:extLst>
                    <a:ext uri="{9D8B030D-6E8A-4147-A177-3AD203B41FA5}">
                      <a16:colId xmlns:a16="http://schemas.microsoft.com/office/drawing/2014/main" val="258920598"/>
                    </a:ext>
                  </a:extLst>
                </a:gridCol>
                <a:gridCol w="1468169">
                  <a:extLst>
                    <a:ext uri="{9D8B030D-6E8A-4147-A177-3AD203B41FA5}">
                      <a16:colId xmlns:a16="http://schemas.microsoft.com/office/drawing/2014/main" val="2007649802"/>
                    </a:ext>
                  </a:extLst>
                </a:gridCol>
                <a:gridCol w="1327945">
                  <a:extLst>
                    <a:ext uri="{9D8B030D-6E8A-4147-A177-3AD203B41FA5}">
                      <a16:colId xmlns:a16="http://schemas.microsoft.com/office/drawing/2014/main" val="702483693"/>
                    </a:ext>
                  </a:extLst>
                </a:gridCol>
                <a:gridCol w="819711">
                  <a:extLst>
                    <a:ext uri="{9D8B030D-6E8A-4147-A177-3AD203B41FA5}">
                      <a16:colId xmlns:a16="http://schemas.microsoft.com/office/drawing/2014/main" val="2999343935"/>
                    </a:ext>
                  </a:extLst>
                </a:gridCol>
                <a:gridCol w="1074252">
                  <a:extLst>
                    <a:ext uri="{9D8B030D-6E8A-4147-A177-3AD203B41FA5}">
                      <a16:colId xmlns:a16="http://schemas.microsoft.com/office/drawing/2014/main" val="1293415774"/>
                    </a:ext>
                  </a:extLst>
                </a:gridCol>
              </a:tblGrid>
              <a:tr h="808267">
                <a:tc>
                  <a:txBody>
                    <a:bodyPr/>
                    <a:lstStyle/>
                    <a:p>
                      <a:pPr>
                        <a:spcBef>
                          <a:spcPts val="600"/>
                        </a:spcBef>
                        <a:spcAft>
                          <a:spcPts val="600"/>
                        </a:spcAft>
                      </a:pPr>
                      <a:r>
                        <a:rPr lang="en-GB" sz="1600" dirty="0">
                          <a:effectLst/>
                        </a:rPr>
                        <a:t>Material</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400">
                          <a:effectLst/>
                        </a:rPr>
                        <a:t>Compound A Dry</a:t>
                      </a:r>
                      <a:endParaRPr lang="en-GB"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400" dirty="0">
                          <a:effectLst/>
                        </a:rPr>
                        <a:t>Chloride Contaminated</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400" dirty="0">
                          <a:effectLst/>
                        </a:rPr>
                        <a:t>Rust Contaminated</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400">
                          <a:effectLst/>
                        </a:rPr>
                        <a:t>Wet Cake</a:t>
                      </a:r>
                    </a:p>
                    <a:p>
                      <a:pPr algn="ctr">
                        <a:spcBef>
                          <a:spcPts val="600"/>
                        </a:spcBef>
                        <a:spcAft>
                          <a:spcPts val="600"/>
                        </a:spcAft>
                      </a:pPr>
                      <a:r>
                        <a:rPr lang="en-GB" sz="1400">
                          <a:effectLst/>
                        </a:rPr>
                        <a:t>(39% solids)</a:t>
                      </a:r>
                      <a:endParaRPr lang="en-GB"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400" dirty="0">
                          <a:effectLst/>
                        </a:rPr>
                        <a:t>Solvent Slurry</a:t>
                      </a:r>
                    </a:p>
                    <a:p>
                      <a:pPr algn="ctr">
                        <a:spcBef>
                          <a:spcPts val="600"/>
                        </a:spcBef>
                        <a:spcAft>
                          <a:spcPts val="600"/>
                        </a:spcAft>
                      </a:pPr>
                      <a:r>
                        <a:rPr lang="en-GB" sz="1400" dirty="0">
                          <a:effectLst/>
                        </a:rPr>
                        <a:t>(24% solids)</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extLst>
                  <a:ext uri="{0D108BD9-81ED-4DB2-BD59-A6C34878D82A}">
                    <a16:rowId xmlns:a16="http://schemas.microsoft.com/office/drawing/2014/main" val="2454061839"/>
                  </a:ext>
                </a:extLst>
              </a:tr>
              <a:tr h="711065">
                <a:tc>
                  <a:txBody>
                    <a:bodyPr/>
                    <a:lstStyle/>
                    <a:p>
                      <a:pPr>
                        <a:spcBef>
                          <a:spcPts val="600"/>
                        </a:spcBef>
                        <a:spcAft>
                          <a:spcPts val="600"/>
                        </a:spcAft>
                      </a:pPr>
                      <a:r>
                        <a:rPr lang="en-GB" sz="1600" dirty="0">
                          <a:effectLst/>
                        </a:rPr>
                        <a:t>Measured onset temperature (°C)</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dirty="0">
                          <a:effectLst/>
                        </a:rPr>
                        <a:t>201</a:t>
                      </a:r>
                      <a:endParaRPr lang="en-GB" sz="18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dirty="0">
                          <a:effectLst/>
                        </a:rPr>
                        <a:t>124</a:t>
                      </a:r>
                      <a:endParaRPr lang="en-GB" sz="18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dirty="0">
                          <a:effectLst/>
                        </a:rPr>
                        <a:t>172</a:t>
                      </a:r>
                      <a:endParaRPr lang="en-GB" sz="18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a:effectLst/>
                        </a:rPr>
                        <a:t>141</a:t>
                      </a:r>
                      <a:endParaRPr lang="en-GB" sz="18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a:effectLst/>
                        </a:rPr>
                        <a:t>141</a:t>
                      </a:r>
                      <a:endParaRPr lang="en-GB" sz="18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extLst>
                  <a:ext uri="{0D108BD9-81ED-4DB2-BD59-A6C34878D82A}">
                    <a16:rowId xmlns:a16="http://schemas.microsoft.com/office/drawing/2014/main" val="963891072"/>
                  </a:ext>
                </a:extLst>
              </a:tr>
              <a:tr h="528894">
                <a:tc>
                  <a:txBody>
                    <a:bodyPr/>
                    <a:lstStyle/>
                    <a:p>
                      <a:pPr>
                        <a:spcBef>
                          <a:spcPts val="600"/>
                        </a:spcBef>
                        <a:spcAft>
                          <a:spcPts val="600"/>
                        </a:spcAft>
                      </a:pPr>
                      <a:r>
                        <a:rPr lang="en-GB" sz="1600" dirty="0">
                          <a:effectLst/>
                        </a:rPr>
                        <a:t>TD</a:t>
                      </a:r>
                      <a:r>
                        <a:rPr lang="en-GB" sz="1600" baseline="-25000" dirty="0">
                          <a:effectLst/>
                        </a:rPr>
                        <a:t>24</a:t>
                      </a:r>
                      <a:r>
                        <a:rPr lang="en-GB" sz="1600" dirty="0">
                          <a:effectLst/>
                        </a:rPr>
                        <a:t> (°C)</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dirty="0">
                          <a:effectLst/>
                        </a:rPr>
                        <a:t>170</a:t>
                      </a:r>
                      <a:endParaRPr lang="en-GB" sz="18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a:effectLst/>
                        </a:rPr>
                        <a:t>93</a:t>
                      </a:r>
                      <a:endParaRPr lang="en-GB" sz="1800" b="1">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dirty="0">
                          <a:effectLst/>
                        </a:rPr>
                        <a:t>158</a:t>
                      </a:r>
                      <a:endParaRPr lang="en-GB" sz="18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dirty="0">
                          <a:effectLst/>
                        </a:rPr>
                        <a:t>110</a:t>
                      </a:r>
                      <a:endParaRPr lang="en-GB" sz="18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tc>
                  <a:txBody>
                    <a:bodyPr/>
                    <a:lstStyle/>
                    <a:p>
                      <a:pPr algn="ctr">
                        <a:spcBef>
                          <a:spcPts val="600"/>
                        </a:spcBef>
                        <a:spcAft>
                          <a:spcPts val="600"/>
                        </a:spcAft>
                      </a:pPr>
                      <a:r>
                        <a:rPr lang="en-GB" sz="1800" b="1" dirty="0">
                          <a:effectLst/>
                        </a:rPr>
                        <a:t>124</a:t>
                      </a:r>
                      <a:endParaRPr lang="en-GB" sz="1800" b="1"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2174" marR="22174" marT="0" marB="0" anchor="ctr"/>
                </a:tc>
                <a:extLst>
                  <a:ext uri="{0D108BD9-81ED-4DB2-BD59-A6C34878D82A}">
                    <a16:rowId xmlns:a16="http://schemas.microsoft.com/office/drawing/2014/main" val="2364946785"/>
                  </a:ext>
                </a:extLst>
              </a:tr>
            </a:tbl>
          </a:graphicData>
        </a:graphic>
      </p:graphicFrame>
      <p:sp>
        <p:nvSpPr>
          <p:cNvPr id="3" name="TextBox 2">
            <a:extLst>
              <a:ext uri="{FF2B5EF4-FFF2-40B4-BE49-F238E27FC236}">
                <a16:creationId xmlns:a16="http://schemas.microsoft.com/office/drawing/2014/main" id="{1A271CB8-D326-E86F-F577-5EEAC427D6C7}"/>
              </a:ext>
            </a:extLst>
          </p:cNvPr>
          <p:cNvSpPr txBox="1"/>
          <p:nvPr/>
        </p:nvSpPr>
        <p:spPr>
          <a:xfrm>
            <a:off x="1282388" y="4241981"/>
            <a:ext cx="6677247" cy="923330"/>
          </a:xfrm>
          <a:prstGeom prst="rect">
            <a:avLst/>
          </a:prstGeom>
          <a:noFill/>
        </p:spPr>
        <p:txBody>
          <a:bodyPr wrap="square" rtlCol="0">
            <a:spAutoFit/>
          </a:bodyPr>
          <a:lstStyle/>
          <a:p>
            <a:pPr algn="ctr"/>
            <a:r>
              <a:rPr lang="en-GB" i="1" dirty="0">
                <a:solidFill>
                  <a:schemeClr val="accent2"/>
                </a:solidFill>
              </a:rPr>
              <a:t>TD</a:t>
            </a:r>
            <a:r>
              <a:rPr lang="en-GB" i="1" baseline="-25000" dirty="0">
                <a:solidFill>
                  <a:schemeClr val="accent2"/>
                </a:solidFill>
              </a:rPr>
              <a:t>24</a:t>
            </a:r>
            <a:r>
              <a:rPr lang="en-GB" i="1" dirty="0">
                <a:solidFill>
                  <a:schemeClr val="accent2"/>
                </a:solidFill>
              </a:rPr>
              <a:t> = temperature from which adiabatic decomposition (corrected for phi factor) takes 24 h to reach peak rates.</a:t>
            </a:r>
          </a:p>
          <a:p>
            <a:pPr algn="ctr"/>
            <a:r>
              <a:rPr lang="en-GB" b="1" i="1" dirty="0">
                <a:solidFill>
                  <a:schemeClr val="accent2"/>
                </a:solidFill>
              </a:rPr>
              <a:t>Assumes simple 1</a:t>
            </a:r>
            <a:r>
              <a:rPr lang="en-GB" b="1" i="1" baseline="30000" dirty="0">
                <a:solidFill>
                  <a:schemeClr val="accent2"/>
                </a:solidFill>
              </a:rPr>
              <a:t>st</a:t>
            </a:r>
            <a:r>
              <a:rPr lang="en-GB" b="1" i="1" dirty="0">
                <a:solidFill>
                  <a:schemeClr val="accent2"/>
                </a:solidFill>
              </a:rPr>
              <a:t> order Arrhenius kinetics</a:t>
            </a:r>
            <a:r>
              <a:rPr lang="en-GB" i="1" dirty="0">
                <a:solidFill>
                  <a:schemeClr val="accent2"/>
                </a:solidFill>
              </a:rPr>
              <a:t>.</a:t>
            </a:r>
          </a:p>
        </p:txBody>
      </p:sp>
    </p:spTree>
    <p:custDataLst>
      <p:tags r:id="rId1"/>
    </p:custDataLst>
    <p:extLst>
      <p:ext uri="{BB962C8B-B14F-4D97-AF65-F5344CB8AC3E}">
        <p14:creationId xmlns:p14="http://schemas.microsoft.com/office/powerpoint/2010/main" val="372082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299270"/>
            <a:ext cx="10620136" cy="507035"/>
          </a:xfrm>
        </p:spPr>
        <p:txBody>
          <a:bodyPr>
            <a:normAutofit/>
          </a:bodyPr>
          <a:lstStyle/>
          <a:p>
            <a:r>
              <a:rPr lang="en-US" sz="2800" dirty="0">
                <a:solidFill>
                  <a:schemeClr val="accent2"/>
                </a:solidFill>
                <a:latin typeface="Century Gothic" panose="020B0502020202020204" pitchFamily="34" charset="0"/>
              </a:rPr>
              <a:t>Building a Kinetic Model: Assumptions and Process</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5" name="TextBox 4">
            <a:extLst>
              <a:ext uri="{FF2B5EF4-FFF2-40B4-BE49-F238E27FC236}">
                <a16:creationId xmlns:a16="http://schemas.microsoft.com/office/drawing/2014/main" id="{B6D68780-FCD9-B075-539E-3B205FEC8D96}"/>
              </a:ext>
            </a:extLst>
          </p:cNvPr>
          <p:cNvSpPr txBox="1"/>
          <p:nvPr/>
        </p:nvSpPr>
        <p:spPr>
          <a:xfrm>
            <a:off x="682274" y="1254641"/>
            <a:ext cx="6675456" cy="5324535"/>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GB" sz="2000" dirty="0"/>
              <a:t>Obtain data for partially </a:t>
            </a:r>
            <a:r>
              <a:rPr lang="en-GB" sz="2000" dirty="0" err="1"/>
              <a:t>inerted</a:t>
            </a:r>
            <a:r>
              <a:rPr lang="en-GB" sz="2000" dirty="0"/>
              <a:t> mixture (wet cake) which is contained by cell but maximised range.</a:t>
            </a:r>
          </a:p>
          <a:p>
            <a:pPr marL="285750" indent="-285750">
              <a:buFont typeface="Arial" panose="020B0604020202020204" pitchFamily="34" charset="0"/>
              <a:buChar char="•"/>
            </a:pPr>
            <a:r>
              <a:rPr lang="en-GB" sz="2000" dirty="0"/>
              <a:t>Measure material properties:</a:t>
            </a:r>
          </a:p>
          <a:p>
            <a:pPr marL="742950" lvl="1" indent="-285750">
              <a:buFont typeface="Arial" panose="020B0604020202020204" pitchFamily="34" charset="0"/>
              <a:buChar char="•"/>
            </a:pPr>
            <a:r>
              <a:rPr lang="en-GB" sz="2000" dirty="0"/>
              <a:t>powder particle density – for void space calc</a:t>
            </a:r>
          </a:p>
          <a:p>
            <a:pPr marL="742950" lvl="1" indent="-285750">
              <a:buFont typeface="Arial" panose="020B0604020202020204" pitchFamily="34" charset="0"/>
              <a:buChar char="•"/>
            </a:pPr>
            <a:r>
              <a:rPr lang="en-GB" sz="2000" dirty="0"/>
              <a:t>specific heat capacity – for heat release calcs</a:t>
            </a:r>
          </a:p>
          <a:p>
            <a:pPr marL="742950" lvl="1" indent="-285750">
              <a:spcAft>
                <a:spcPts val="1200"/>
              </a:spcAft>
              <a:buFont typeface="Arial" panose="020B0604020202020204" pitchFamily="34" charset="0"/>
              <a:buChar char="•"/>
            </a:pPr>
            <a:r>
              <a:rPr lang="en-GB" sz="2000" dirty="0"/>
              <a:t>thermal conductivity – for scale-up to plant</a:t>
            </a:r>
          </a:p>
          <a:p>
            <a:pPr marL="285750" indent="-285750">
              <a:buFont typeface="Arial" panose="020B0604020202020204" pitchFamily="34" charset="0"/>
              <a:buChar char="•"/>
            </a:pPr>
            <a:r>
              <a:rPr lang="en-GB" sz="2000" dirty="0"/>
              <a:t>Construct model using commercial kinetic software platform</a:t>
            </a:r>
          </a:p>
          <a:p>
            <a:pPr marL="742950" lvl="1" indent="-285750">
              <a:spcAft>
                <a:spcPts val="1200"/>
              </a:spcAft>
              <a:buFont typeface="Arial" panose="020B0604020202020204" pitchFamily="34" charset="0"/>
              <a:buChar char="•"/>
            </a:pPr>
            <a:r>
              <a:rPr lang="en-GB" sz="2000" dirty="0"/>
              <a:t>E.g. ‘ARKS AC’ and ‘ARKS FK’ (Adiabatic Calorimetry analysis and Formal Conversion-Based Kinetic Modelling software), from </a:t>
            </a:r>
            <a:r>
              <a:rPr lang="en-GB" sz="2000" dirty="0" err="1"/>
              <a:t>ChemInform</a:t>
            </a:r>
            <a:r>
              <a:rPr lang="en-GB" sz="2000" dirty="0"/>
              <a:t> St. Petersburg (CISP)</a:t>
            </a:r>
          </a:p>
          <a:p>
            <a:pPr marL="285750" indent="-285750">
              <a:spcAft>
                <a:spcPts val="1200"/>
              </a:spcAft>
              <a:buFont typeface="Arial" panose="020B0604020202020204" pitchFamily="34" charset="0"/>
              <a:buChar char="•"/>
            </a:pPr>
            <a:r>
              <a:rPr lang="en-GB" sz="2000" dirty="0"/>
              <a:t>Validate model against data from tests with varying conditions.</a:t>
            </a:r>
          </a:p>
          <a:p>
            <a:pPr marL="285750" indent="-285750">
              <a:buFont typeface="Arial" panose="020B0604020202020204" pitchFamily="34" charset="0"/>
              <a:buChar char="•"/>
            </a:pPr>
            <a:endParaRPr lang="en-GB" sz="2000" dirty="0"/>
          </a:p>
        </p:txBody>
      </p:sp>
      <p:pic>
        <p:nvPicPr>
          <p:cNvPr id="3" name="Picture 2">
            <a:extLst>
              <a:ext uri="{FF2B5EF4-FFF2-40B4-BE49-F238E27FC236}">
                <a16:creationId xmlns:a16="http://schemas.microsoft.com/office/drawing/2014/main" id="{D8431516-B93F-B6CF-587F-C27579F8E924}"/>
              </a:ext>
            </a:extLst>
          </p:cNvPr>
          <p:cNvPicPr>
            <a:picLocks noChangeAspect="1"/>
          </p:cNvPicPr>
          <p:nvPr/>
        </p:nvPicPr>
        <p:blipFill rotWithShape="1">
          <a:blip r:embed="rId4"/>
          <a:srcRect t="12869"/>
          <a:stretch/>
        </p:blipFill>
        <p:spPr>
          <a:xfrm>
            <a:off x="7474679" y="984656"/>
            <a:ext cx="3871630" cy="2302512"/>
          </a:xfrm>
          <a:prstGeom prst="rect">
            <a:avLst/>
          </a:prstGeom>
        </p:spPr>
      </p:pic>
      <p:sp>
        <p:nvSpPr>
          <p:cNvPr id="7" name="TextBox 6">
            <a:extLst>
              <a:ext uri="{FF2B5EF4-FFF2-40B4-BE49-F238E27FC236}">
                <a16:creationId xmlns:a16="http://schemas.microsoft.com/office/drawing/2014/main" id="{5DC9DA59-411F-F5F4-D914-57C40950AE6D}"/>
              </a:ext>
            </a:extLst>
          </p:cNvPr>
          <p:cNvSpPr txBox="1"/>
          <p:nvPr/>
        </p:nvSpPr>
        <p:spPr>
          <a:xfrm>
            <a:off x="8451791" y="3386167"/>
            <a:ext cx="1917405" cy="369332"/>
          </a:xfrm>
          <a:prstGeom prst="rect">
            <a:avLst/>
          </a:prstGeom>
          <a:solidFill>
            <a:schemeClr val="accent2"/>
          </a:solidFill>
        </p:spPr>
        <p:txBody>
          <a:bodyPr wrap="square" rtlCol="0">
            <a:spAutoFit/>
          </a:bodyPr>
          <a:lstStyle/>
          <a:p>
            <a:pPr algn="ctr"/>
            <a:r>
              <a:rPr lang="en-GB" b="1" dirty="0">
                <a:solidFill>
                  <a:schemeClr val="bg1"/>
                </a:solidFill>
              </a:rPr>
              <a:t>Inert with Al</a:t>
            </a:r>
            <a:r>
              <a:rPr lang="en-GB" b="1" baseline="-25000" dirty="0">
                <a:solidFill>
                  <a:schemeClr val="bg1"/>
                </a:solidFill>
              </a:rPr>
              <a:t>2</a:t>
            </a:r>
            <a:r>
              <a:rPr lang="en-GB" b="1" dirty="0">
                <a:solidFill>
                  <a:schemeClr val="bg1"/>
                </a:solidFill>
              </a:rPr>
              <a:t>O</a:t>
            </a:r>
            <a:r>
              <a:rPr lang="en-GB" b="1" baseline="-25000" dirty="0">
                <a:solidFill>
                  <a:schemeClr val="bg1"/>
                </a:solidFill>
              </a:rPr>
              <a:t>3</a:t>
            </a:r>
            <a:endParaRPr lang="en-GB" baseline="-25000" dirty="0">
              <a:solidFill>
                <a:schemeClr val="bg1"/>
              </a:solidFill>
            </a:endParaRPr>
          </a:p>
        </p:txBody>
      </p:sp>
      <p:pic>
        <p:nvPicPr>
          <p:cNvPr id="8" name="Picture 7">
            <a:extLst>
              <a:ext uri="{FF2B5EF4-FFF2-40B4-BE49-F238E27FC236}">
                <a16:creationId xmlns:a16="http://schemas.microsoft.com/office/drawing/2014/main" id="{DDE786D8-21A2-8660-8D3D-AE18C0A0EAA2}"/>
              </a:ext>
            </a:extLst>
          </p:cNvPr>
          <p:cNvPicPr>
            <a:picLocks noChangeAspect="1"/>
          </p:cNvPicPr>
          <p:nvPr/>
        </p:nvPicPr>
        <p:blipFill rotWithShape="1">
          <a:blip r:embed="rId5"/>
          <a:srcRect t="13014"/>
          <a:stretch/>
        </p:blipFill>
        <p:spPr>
          <a:xfrm>
            <a:off x="7521099" y="3964356"/>
            <a:ext cx="3876994" cy="2302513"/>
          </a:xfrm>
          <a:prstGeom prst="rect">
            <a:avLst/>
          </a:prstGeom>
        </p:spPr>
      </p:pic>
      <p:sp>
        <p:nvSpPr>
          <p:cNvPr id="9" name="Arrow: Down 8">
            <a:extLst>
              <a:ext uri="{FF2B5EF4-FFF2-40B4-BE49-F238E27FC236}">
                <a16:creationId xmlns:a16="http://schemas.microsoft.com/office/drawing/2014/main" id="{1D4101B4-0FC7-2930-F40E-518BAF2EBA30}"/>
              </a:ext>
            </a:extLst>
          </p:cNvPr>
          <p:cNvSpPr/>
          <p:nvPr/>
        </p:nvSpPr>
        <p:spPr>
          <a:xfrm>
            <a:off x="7974409" y="3211033"/>
            <a:ext cx="308344" cy="6698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Arrow: Down 9">
            <a:extLst>
              <a:ext uri="{FF2B5EF4-FFF2-40B4-BE49-F238E27FC236}">
                <a16:creationId xmlns:a16="http://schemas.microsoft.com/office/drawing/2014/main" id="{F2E4A944-C505-A0AA-14DB-05949693B022}"/>
              </a:ext>
            </a:extLst>
          </p:cNvPr>
          <p:cNvSpPr/>
          <p:nvPr/>
        </p:nvSpPr>
        <p:spPr>
          <a:xfrm>
            <a:off x="10489008" y="3218240"/>
            <a:ext cx="308344" cy="6698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352637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animEffect transition="in" filter="fade">
                                      <p:cBhvr>
                                        <p:cTn id="19" dur="500"/>
                                        <p:tgtEl>
                                          <p:spTgt spid="5">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xEl>
                                              <p:pRg st="1" end="1"/>
                                            </p:txEl>
                                          </p:spTgt>
                                        </p:tgtEl>
                                        <p:attrNameLst>
                                          <p:attrName>style.visibility</p:attrName>
                                        </p:attrNameLst>
                                      </p:cBhvr>
                                      <p:to>
                                        <p:strVal val="visible"/>
                                      </p:to>
                                    </p:set>
                                    <p:animEffect transition="in" filter="fade">
                                      <p:cBhvr>
                                        <p:cTn id="24" dur="500"/>
                                        <p:tgtEl>
                                          <p:spTgt spid="5">
                                            <p:txEl>
                                              <p:pRg st="1" end="1"/>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
                                            <p:txEl>
                                              <p:pRg st="2" end="2"/>
                                            </p:txEl>
                                          </p:spTgt>
                                        </p:tgtEl>
                                        <p:attrNameLst>
                                          <p:attrName>style.visibility</p:attrName>
                                        </p:attrNameLst>
                                      </p:cBhvr>
                                      <p:to>
                                        <p:strVal val="visible"/>
                                      </p:to>
                                    </p:set>
                                    <p:animEffect transition="in" filter="fade">
                                      <p:cBhvr>
                                        <p:cTn id="27" dur="500"/>
                                        <p:tgtEl>
                                          <p:spTgt spid="5">
                                            <p:txEl>
                                              <p:pRg st="2" end="2"/>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
                                            <p:txEl>
                                              <p:pRg st="3" end="3"/>
                                            </p:txEl>
                                          </p:spTgt>
                                        </p:tgtEl>
                                        <p:attrNameLst>
                                          <p:attrName>style.visibility</p:attrName>
                                        </p:attrNameLst>
                                      </p:cBhvr>
                                      <p:to>
                                        <p:strVal val="visible"/>
                                      </p:to>
                                    </p:set>
                                    <p:animEffect transition="in" filter="fade">
                                      <p:cBhvr>
                                        <p:cTn id="30" dur="500"/>
                                        <p:tgtEl>
                                          <p:spTgt spid="5">
                                            <p:txEl>
                                              <p:pRg st="3" end="3"/>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animEffect transition="in" filter="fade">
                                      <p:cBhvr>
                                        <p:cTn id="33" dur="500"/>
                                        <p:tgtEl>
                                          <p:spTgt spid="5">
                                            <p:txEl>
                                              <p:pRg st="4" end="4"/>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
                                            <p:txEl>
                                              <p:pRg st="5" end="5"/>
                                            </p:txEl>
                                          </p:spTgt>
                                        </p:tgtEl>
                                        <p:attrNameLst>
                                          <p:attrName>style.visibility</p:attrName>
                                        </p:attrNameLst>
                                      </p:cBhvr>
                                      <p:to>
                                        <p:strVal val="visible"/>
                                      </p:to>
                                    </p:set>
                                    <p:animEffect transition="in" filter="fade">
                                      <p:cBhvr>
                                        <p:cTn id="38" dur="500"/>
                                        <p:tgtEl>
                                          <p:spTgt spid="5">
                                            <p:txEl>
                                              <p:pRg st="5" end="5"/>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txEl>
                                              <p:pRg st="6" end="6"/>
                                            </p:txEl>
                                          </p:spTgt>
                                        </p:tgtEl>
                                        <p:attrNameLst>
                                          <p:attrName>style.visibility</p:attrName>
                                        </p:attrNameLst>
                                      </p:cBhvr>
                                      <p:to>
                                        <p:strVal val="visible"/>
                                      </p:to>
                                    </p:set>
                                    <p:animEffect transition="in" filter="fade">
                                      <p:cBhvr>
                                        <p:cTn id="41" dur="500"/>
                                        <p:tgtEl>
                                          <p:spTgt spid="5">
                                            <p:txEl>
                                              <p:pRg st="6" end="6"/>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5">
                                            <p:txEl>
                                              <p:pRg st="7" end="7"/>
                                            </p:txEl>
                                          </p:spTgt>
                                        </p:tgtEl>
                                        <p:attrNameLst>
                                          <p:attrName>style.visibility</p:attrName>
                                        </p:attrNameLst>
                                      </p:cBhvr>
                                      <p:to>
                                        <p:strVal val="visible"/>
                                      </p:to>
                                    </p:set>
                                    <p:animEffect transition="in" filter="fade">
                                      <p:cBhvr>
                                        <p:cTn id="46"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7" grpId="0" animBg="1"/>
      <p:bldP spid="9"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33.5"/>
</p:tagLst>
</file>

<file path=ppt/tags/tag11.xml><?xml version="1.0" encoding="utf-8"?>
<p:tagLst xmlns:a="http://schemas.openxmlformats.org/drawingml/2006/main" xmlns:r="http://schemas.openxmlformats.org/officeDocument/2006/relationships" xmlns:p="http://schemas.openxmlformats.org/presentationml/2006/main">
  <p:tag name="TIMING" val="|1.9|81.5|25.2"/>
</p:tagLst>
</file>

<file path=ppt/tags/tag12.xml><?xml version="1.0" encoding="utf-8"?>
<p:tagLst xmlns:a="http://schemas.openxmlformats.org/drawingml/2006/main" xmlns:r="http://schemas.openxmlformats.org/officeDocument/2006/relationships" xmlns:p="http://schemas.openxmlformats.org/presentationml/2006/main">
  <p:tag name="TIMING" val="|54.8|60.9|34.8|11.3"/>
</p:tagLst>
</file>

<file path=ppt/tags/tag13.xml><?xml version="1.0" encoding="utf-8"?>
<p:tagLst xmlns:a="http://schemas.openxmlformats.org/drawingml/2006/main" xmlns:r="http://schemas.openxmlformats.org/officeDocument/2006/relationships" xmlns:p="http://schemas.openxmlformats.org/presentationml/2006/main">
  <p:tag name="TIMING" val="|2|38.2|22.2|21.5|30.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ehWuBanTEWSXVnXD3CSCQ"/>
</p:tagLst>
</file>

<file path=ppt/tags/tag2.xml><?xml version="1.0" encoding="utf-8"?>
<p:tagLst xmlns:a="http://schemas.openxmlformats.org/drawingml/2006/main" xmlns:r="http://schemas.openxmlformats.org/officeDocument/2006/relationships" xmlns:p="http://schemas.openxmlformats.org/presentationml/2006/main">
  <p:tag name="TIMING" val="|30"/>
</p:tagLst>
</file>

<file path=ppt/tags/tag3.xml><?xml version="1.0" encoding="utf-8"?>
<p:tagLst xmlns:a="http://schemas.openxmlformats.org/drawingml/2006/main" xmlns:r="http://schemas.openxmlformats.org/officeDocument/2006/relationships" xmlns:p="http://schemas.openxmlformats.org/presentationml/2006/main">
  <p:tag name="TIMING" val="|54.3|48.6|90.9"/>
</p:tagLst>
</file>

<file path=ppt/tags/tag4.xml><?xml version="1.0" encoding="utf-8"?>
<p:tagLst xmlns:a="http://schemas.openxmlformats.org/drawingml/2006/main" xmlns:r="http://schemas.openxmlformats.org/officeDocument/2006/relationships" xmlns:p="http://schemas.openxmlformats.org/presentationml/2006/main">
  <p:tag name="TIMING" val="|41.7|33.9|27.4"/>
</p:tagLst>
</file>

<file path=ppt/tags/tag5.xml><?xml version="1.0" encoding="utf-8"?>
<p:tagLst xmlns:a="http://schemas.openxmlformats.org/drawingml/2006/main" xmlns:r="http://schemas.openxmlformats.org/officeDocument/2006/relationships" xmlns:p="http://schemas.openxmlformats.org/presentationml/2006/main">
  <p:tag name="TIMING" val="|154.2|22.8|11.6"/>
</p:tagLst>
</file>

<file path=ppt/tags/tag6.xml><?xml version="1.0" encoding="utf-8"?>
<p:tagLst xmlns:a="http://schemas.openxmlformats.org/drawingml/2006/main" xmlns:r="http://schemas.openxmlformats.org/officeDocument/2006/relationships" xmlns:p="http://schemas.openxmlformats.org/presentationml/2006/main">
  <p:tag name="TIMING" val="|14.6|8.1|6.7|1.9"/>
</p:tagLst>
</file>

<file path=ppt/tags/tag7.xml><?xml version="1.0" encoding="utf-8"?>
<p:tagLst xmlns:a="http://schemas.openxmlformats.org/drawingml/2006/main" xmlns:r="http://schemas.openxmlformats.org/officeDocument/2006/relationships" xmlns:p="http://schemas.openxmlformats.org/presentationml/2006/main">
  <p:tag name="TIMING" val="|24.9|20|31.7|15.1|14.1"/>
</p:tagLst>
</file>

<file path=ppt/tags/tag8.xml><?xml version="1.0" encoding="utf-8"?>
<p:tagLst xmlns:a="http://schemas.openxmlformats.org/drawingml/2006/main" xmlns:r="http://schemas.openxmlformats.org/officeDocument/2006/relationships" xmlns:p="http://schemas.openxmlformats.org/presentationml/2006/main">
  <p:tag name="TIMING" val="|40.7"/>
</p:tagLst>
</file>

<file path=ppt/tags/tag9.xml><?xml version="1.0" encoding="utf-8"?>
<p:tagLst xmlns:a="http://schemas.openxmlformats.org/drawingml/2006/main" xmlns:r="http://schemas.openxmlformats.org/officeDocument/2006/relationships" xmlns:p="http://schemas.openxmlformats.org/presentationml/2006/main">
  <p:tag name="TIMING" val="|27|34.6|21.8|29.9"/>
</p:tagLst>
</file>

<file path=ppt/theme/theme1.xml><?xml version="1.0" encoding="utf-8"?>
<a:theme xmlns:a="http://schemas.openxmlformats.org/drawingml/2006/main" name="Office">
  <a:themeElements>
    <a:clrScheme name="DEKRA 2022">
      <a:dk1>
        <a:srgbClr val="3C3C3C"/>
      </a:dk1>
      <a:lt1>
        <a:srgbClr val="F2F2F2"/>
      </a:lt1>
      <a:dk2>
        <a:srgbClr val="2D2D2D"/>
      </a:dk2>
      <a:lt2>
        <a:srgbClr val="BFBFBF"/>
      </a:lt2>
      <a:accent1>
        <a:srgbClr val="57AB27"/>
      </a:accent1>
      <a:accent2>
        <a:srgbClr val="007D40"/>
      </a:accent2>
      <a:accent3>
        <a:srgbClr val="007D40"/>
      </a:accent3>
      <a:accent4>
        <a:srgbClr val="1A6E3C"/>
      </a:accent4>
      <a:accent5>
        <a:srgbClr val="57AB27"/>
      </a:accent5>
      <a:accent6>
        <a:srgbClr val="57AB27"/>
      </a:accent6>
      <a:hlink>
        <a:srgbClr val="0563C1"/>
      </a:hlink>
      <a:folHlink>
        <a:srgbClr val="954F72"/>
      </a:folHlink>
    </a:clrScheme>
    <a:fontScheme name="DEKRA MSOff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KRA PowerPoint Master 2022" id="{4E11DFD9-B95E-4D82-B870-E96F467845F1}" vid="{CCF2EADB-B4A2-47CE-A731-8E9E923DA58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Flow_SignoffStatus xmlns="7604e031-f840-4ad5-97d2-0b99280ee730" xsi:nil="true"/>
    <lcf76f155ced4ddcb4097134ff3c332f xmlns="7604e031-f840-4ad5-97d2-0b99280ee730">
      <Terms xmlns="http://schemas.microsoft.com/office/infopath/2007/PartnerControls"/>
    </lcf76f155ced4ddcb4097134ff3c332f>
    <TaxCatchAll xmlns="c4b40482-04a4-480f-b826-6548c4a2bcf1" xsi:nil="true"/>
    <MediaLengthInSeconds xmlns="7604e031-f840-4ad5-97d2-0b99280ee730" xsi:nil="true"/>
    <SharedWithUsers xmlns="c4b40482-04a4-480f-b826-6548c4a2bcf1">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46A3490C442E41AC9620621F1F21BE" ma:contentTypeVersion="17" ma:contentTypeDescription="Create a new document." ma:contentTypeScope="" ma:versionID="a9657b1df510095f92d4b408480f5c8b">
  <xsd:schema xmlns:xsd="http://www.w3.org/2001/XMLSchema" xmlns:xs="http://www.w3.org/2001/XMLSchema" xmlns:p="http://schemas.microsoft.com/office/2006/metadata/properties" xmlns:ns2="7604e031-f840-4ad5-97d2-0b99280ee730" xmlns:ns3="c4b40482-04a4-480f-b826-6548c4a2bcf1" targetNamespace="http://schemas.microsoft.com/office/2006/metadata/properties" ma:root="true" ma:fieldsID="9b59f0d74fb2eece99aa0f8b61418ac6" ns2:_="" ns3:_="">
    <xsd:import namespace="7604e031-f840-4ad5-97d2-0b99280ee730"/>
    <xsd:import namespace="c4b40482-04a4-480f-b826-6548c4a2bcf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04e031-f840-4ad5-97d2-0b99280ee7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56237a7-7071-4e19-8c1f-699d1949a4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4b40482-04a4-480f-b826-6548c4a2bc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56402f1-dbcc-4c60-a824-dfd545cfc5e6}" ma:internalName="TaxCatchAll" ma:showField="CatchAllData" ma:web="c4b40482-04a4-480f-b826-6548c4a2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09A692-1643-4275-BE2C-CC213BA657EB}">
  <ds:schemaRefs>
    <ds:schemaRef ds:uri="http://schemas.microsoft.com/sharepoint/v3/contenttype/forms"/>
  </ds:schemaRefs>
</ds:datastoreItem>
</file>

<file path=customXml/itemProps2.xml><?xml version="1.0" encoding="utf-8"?>
<ds:datastoreItem xmlns:ds="http://schemas.openxmlformats.org/officeDocument/2006/customXml" ds:itemID="{30D2E2CD-62CB-465B-A290-F50D445DCEA8}">
  <ds:schemaRefs>
    <ds:schemaRef ds:uri="http://schemas.openxmlformats.org/package/2006/metadata/core-properties"/>
    <ds:schemaRef ds:uri="http://www.w3.org/XML/1998/namespace"/>
    <ds:schemaRef ds:uri="http://schemas.microsoft.com/office/2006/documentManagement/types"/>
    <ds:schemaRef ds:uri="c4b40482-04a4-480f-b826-6548c4a2bcf1"/>
    <ds:schemaRef ds:uri="http://purl.org/dc/dcmitype/"/>
    <ds:schemaRef ds:uri="http://purl.org/dc/terms/"/>
    <ds:schemaRef ds:uri="http://purl.org/dc/elements/1.1/"/>
    <ds:schemaRef ds:uri="http://schemas.microsoft.com/office/infopath/2007/PartnerControls"/>
    <ds:schemaRef ds:uri="7604e031-f840-4ad5-97d2-0b99280ee730"/>
    <ds:schemaRef ds:uri="http://schemas.microsoft.com/office/2006/metadata/properties"/>
  </ds:schemaRefs>
</ds:datastoreItem>
</file>

<file path=customXml/itemProps3.xml><?xml version="1.0" encoding="utf-8"?>
<ds:datastoreItem xmlns:ds="http://schemas.openxmlformats.org/officeDocument/2006/customXml" ds:itemID="{FD72CC02-6D19-4252-85E9-BBD0CF5EAA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04e031-f840-4ad5-97d2-0b99280ee730"/>
    <ds:schemaRef ds:uri="c4b40482-04a4-480f-b826-6548c4a2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394</TotalTime>
  <Words>1352</Words>
  <Application>Microsoft Office PowerPoint</Application>
  <PresentationFormat>Widescreen</PresentationFormat>
  <Paragraphs>216</Paragraphs>
  <Slides>14</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entury Gothic</vt:lpstr>
      <vt:lpstr>Times New Roman</vt:lpstr>
      <vt:lpstr>Wingdings</vt:lpstr>
      <vt:lpstr>Office</vt:lpstr>
      <vt:lpstr>think-cell Folie</vt:lpstr>
      <vt:lpstr>PowerPoint Presentation</vt:lpstr>
      <vt:lpstr>Material &amp; Process Information</vt:lpstr>
      <vt:lpstr>Incident Description</vt:lpstr>
      <vt:lpstr>Incident Cause Determination</vt:lpstr>
      <vt:lpstr>Defining “Safe” Material Temperatures</vt:lpstr>
      <vt:lpstr>Building a Kinetic Model</vt:lpstr>
      <vt:lpstr>Building a Kinetic Model: Worst Case Process Composition</vt:lpstr>
      <vt:lpstr>Building a Kinetic Model: Worst Case Process Composition</vt:lpstr>
      <vt:lpstr>Building a Kinetic Model: Assumptions and Process</vt:lpstr>
      <vt:lpstr>Building a Kinetic Model: Model and Validation</vt:lpstr>
      <vt:lpstr>What is the “Safe Temperature”?</vt:lpstr>
      <vt:lpstr>Basis of Safety for Self-reactive Substances</vt:lpstr>
      <vt:lpstr>Key Learning Poin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a.jelacic@dekra.com</dc:creator>
  <cp:lastModifiedBy>Rachel Robinson</cp:lastModifiedBy>
  <cp:revision>1035</cp:revision>
  <cp:lastPrinted>2022-06-15T14:25:45Z</cp:lastPrinted>
  <dcterms:created xsi:type="dcterms:W3CDTF">2016-03-24T21:47:09Z</dcterms:created>
  <dcterms:modified xsi:type="dcterms:W3CDTF">2022-11-02T14:1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a16b40-a803-442a-a923-9d42e9158dd1_Enabled">
    <vt:lpwstr>true</vt:lpwstr>
  </property>
  <property fmtid="{D5CDD505-2E9C-101B-9397-08002B2CF9AE}" pid="3" name="MSIP_Label_49a16b40-a803-442a-a923-9d42e9158dd1_SetDate">
    <vt:lpwstr>2021-10-29T09:54:31Z</vt:lpwstr>
  </property>
  <property fmtid="{D5CDD505-2E9C-101B-9397-08002B2CF9AE}" pid="4" name="MSIP_Label_49a16b40-a803-442a-a923-9d42e9158dd1_Method">
    <vt:lpwstr>Standard</vt:lpwstr>
  </property>
  <property fmtid="{D5CDD505-2E9C-101B-9397-08002B2CF9AE}" pid="5" name="MSIP_Label_49a16b40-a803-442a-a923-9d42e9158dd1_Name">
    <vt:lpwstr>Internal</vt:lpwstr>
  </property>
  <property fmtid="{D5CDD505-2E9C-101B-9397-08002B2CF9AE}" pid="6" name="MSIP_Label_49a16b40-a803-442a-a923-9d42e9158dd1_SiteId">
    <vt:lpwstr>cf81581f-cf8c-405d-97e3-34a295c8d882</vt:lpwstr>
  </property>
  <property fmtid="{D5CDD505-2E9C-101B-9397-08002B2CF9AE}" pid="7" name="MSIP_Label_49a16b40-a803-442a-a923-9d42e9158dd1_ActionId">
    <vt:lpwstr>ed85f545-916a-4e79-a5a0-b9bd1b05d708</vt:lpwstr>
  </property>
  <property fmtid="{D5CDD505-2E9C-101B-9397-08002B2CF9AE}" pid="8" name="MSIP_Label_49a16b40-a803-442a-a923-9d42e9158dd1_ContentBits">
    <vt:lpwstr>0</vt:lpwstr>
  </property>
  <property fmtid="{D5CDD505-2E9C-101B-9397-08002B2CF9AE}" pid="9" name="ContentTypeId">
    <vt:lpwstr>0x0101000646A3490C442E41AC9620621F1F21BE</vt:lpwstr>
  </property>
  <property fmtid="{D5CDD505-2E9C-101B-9397-08002B2CF9AE}" pid="10" name="ComplianceAssetId">
    <vt:lpwstr/>
  </property>
  <property fmtid="{D5CDD505-2E9C-101B-9397-08002B2CF9AE}" pid="11" name="_ExtendedDescription">
    <vt:lpwstr/>
  </property>
  <property fmtid="{D5CDD505-2E9C-101B-9397-08002B2CF9AE}" pid="12" name="TriggerFlowInfo">
    <vt:lpwstr/>
  </property>
  <property fmtid="{D5CDD505-2E9C-101B-9397-08002B2CF9AE}" pid="13" name="MediaServiceImageTags">
    <vt:lpwstr/>
  </property>
</Properties>
</file>